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39.xml" ContentType="application/vnd.openxmlformats-officedocument.presentationml.slideLayout+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Default Extension="vml" ContentType="application/vnd.openxmlformats-officedocument.vmlDrawing"/>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customXml/itemProps2.xml" ContentType="application/vnd.openxmlformats-officedocument.customXmlProperties+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
  </p:notesMasterIdLst>
  <p:handoutMasterIdLst>
    <p:handoutMasterId r:id="rId10"/>
  </p:handoutMasterIdLst>
  <p:sldIdLst>
    <p:sldId id="452" r:id="rId5"/>
    <p:sldId id="454" r:id="rId6"/>
    <p:sldId id="453" r:id="rId7"/>
    <p:sldId id="451" r:id="rId8"/>
  </p:sldIdLst>
  <p:sldSz cx="9144000" cy="6858000" type="screen4x3"/>
  <p:notesSz cx="7315200" cy="96012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0">
          <p15:clr>
            <a:srgbClr val="A4A3A4"/>
          </p15:clr>
        </p15:guide>
        <p15:guide id="11" orient="horz" pos="2184" userDrawn="1">
          <p15:clr>
            <a:srgbClr val="A4A3A4"/>
          </p15:clr>
        </p15:guide>
        <p15:guide id="12" orient="horz" pos="3363" userDrawn="1">
          <p15:clr>
            <a:srgbClr val="A4A3A4"/>
          </p15:clr>
        </p15:guide>
        <p15:guide id="13" orient="horz" pos="720" userDrawn="1">
          <p15:clr>
            <a:srgbClr val="A4A3A4"/>
          </p15:clr>
        </p15:guide>
        <p15:guide id="14" pos="4104" userDrawn="1">
          <p15:clr>
            <a:srgbClr val="A4A3A4"/>
          </p15:clr>
        </p15:guide>
        <p15:guide id="15" pos="1632"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648D1C"/>
    <a:srgbClr val="002776"/>
    <a:srgbClr val="FFFFFF"/>
    <a:srgbClr val="575757"/>
    <a:srgbClr val="000000"/>
    <a:srgbClr val="FFCD00"/>
    <a:srgbClr val="ED8B00"/>
    <a:srgbClr val="DB291C"/>
    <a:srgbClr val="FF9900"/>
    <a:srgbClr val="C000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0141" autoAdjust="0"/>
    <p:restoredTop sz="95053" autoAdjust="0"/>
  </p:normalViewPr>
  <p:slideViewPr>
    <p:cSldViewPr snapToGrid="0" showGuides="1">
      <p:cViewPr>
        <p:scale>
          <a:sx n="81" d="100"/>
          <a:sy n="81" d="100"/>
        </p:scale>
        <p:origin x="-1266" y="78"/>
      </p:cViewPr>
      <p:guideLst>
        <p:guide orient="horz" pos="2184"/>
        <p:guide orient="horz" pos="3363"/>
        <p:guide orient="horz" pos="720"/>
        <p:guide/>
        <p:guide pos="4104"/>
        <p:guide pos="1632"/>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pPr/>
              <a:t>9/14/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4/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 xmlns:p14="http://schemas.microsoft.com/office/powerpoint/2010/main" val="40532829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Drag picture to placeholder or click icon to add</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 xmlns:p14="http://schemas.microsoft.com/office/powerpoint/2010/main" val="2929758712"/>
              </p:ext>
            </p:extLst>
          </p:nvPr>
        </p:nvGraphicFramePr>
        <p:xfrm>
          <a:off x="1588" y="1588"/>
          <a:ext cx="1587" cy="1587"/>
        </p:xfrm>
        <a:graphic>
          <a:graphicData uri="http://schemas.openxmlformats.org/presentationml/2006/ole">
            <p:oleObj spid="_x0000_s11392" name="think-cell Slide" r:id="rId4" imgW="360" imgH="360" progId="">
              <p:embed/>
            </p:oleObj>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Drag picture to placeholder or click icon to add</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Drag picture to placeholder or click icon to add</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Drag picture to placeholder or click icon to add</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 xmlns:p14="http://schemas.microsoft.com/office/powerpoint/2010/main"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647FB28-739C-40A0-A418-A8C97BF9D435}" type="datetimeFigureOut">
              <a:rPr lang="en-US" smtClean="0"/>
              <a:pPr/>
              <a:t>9/14/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Tree>
    <p:extLst>
      <p:ext uri="{BB962C8B-B14F-4D97-AF65-F5344CB8AC3E}">
        <p14:creationId xmlns="" xmlns:p14="http://schemas.microsoft.com/office/powerpoint/2010/main" val="737064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a:t>
            </a:r>
            <a:r>
              <a:rPr lang="en-US" sz="650" noProof="0" dirty="0" err="1" smtClean="0">
                <a:solidFill>
                  <a:schemeClr val="bg1"/>
                </a:solidFill>
              </a:rPr>
              <a:t>BeTheImpact</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8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 xmlns:p14="http://schemas.microsoft.com/office/powerpoint/2010/main" val="1791176610"/>
              </p:ext>
            </p:extLst>
          </p:nvPr>
        </p:nvGraphicFramePr>
        <p:xfrm>
          <a:off x="1588" y="1588"/>
          <a:ext cx="1587" cy="1587"/>
        </p:xfrm>
        <a:graphic>
          <a:graphicData uri="http://schemas.openxmlformats.org/presentationml/2006/ole">
            <p:oleObj spid="_x0000_s2410" name="think-cell Slide" r:id="rId46" imgW="360" imgH="360" progId="">
              <p:embed/>
            </p:oleObj>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8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3"/>
          <p:cNvSpPr>
            <a:spLocks noGrp="1"/>
          </p:cNvSpPr>
          <p:nvPr>
            <p:ph type="subTitle" idx="1"/>
          </p:nvPr>
        </p:nvSpPr>
        <p:spPr/>
        <p:txBody>
          <a:bodyPr/>
          <a:lstStyle/>
          <a:p>
            <a:r>
              <a:rPr lang="en-US" dirty="0" smtClean="0"/>
              <a:t>AWS Educate Challenge </a:t>
            </a:r>
            <a:r>
              <a:rPr lang="en-US" dirty="0" smtClean="0"/>
              <a:t>2018</a:t>
            </a:r>
            <a:endParaRPr lang="en-US" b="0" dirty="0" smtClean="0"/>
          </a:p>
          <a:p>
            <a:r>
              <a:rPr lang="en-US" noProof="0" dirty="0" err="1" smtClean="0"/>
              <a:t>CGC_Rebounder</a:t>
            </a:r>
            <a:endParaRPr lang="en-US" noProof="0" dirty="0"/>
          </a:p>
        </p:txBody>
      </p:sp>
      <p:sp>
        <p:nvSpPr>
          <p:cNvPr id="4" name="Text Placeholder 3"/>
          <p:cNvSpPr>
            <a:spLocks noGrp="1"/>
          </p:cNvSpPr>
          <p:nvPr>
            <p:ph type="body" sz="quarter" idx="10"/>
          </p:nvPr>
        </p:nvSpPr>
        <p:spPr/>
        <p:txBody>
          <a:bodyPr/>
          <a:lstStyle/>
          <a:p>
            <a:r>
              <a:rPr lang="en-US" dirty="0" smtClean="0"/>
              <a:t>Chandigarh Group Of College , </a:t>
            </a:r>
            <a:r>
              <a:rPr lang="en-US" dirty="0" err="1" smtClean="0"/>
              <a:t>Landran</a:t>
            </a:r>
            <a:endParaRPr lang="en-US" dirty="0"/>
          </a:p>
        </p:txBody>
      </p:sp>
      <p:sp>
        <p:nvSpPr>
          <p:cNvPr id="2" name="Rectangle 1"/>
          <p:cNvSpPr/>
          <p:nvPr/>
        </p:nvSpPr>
        <p:spPr>
          <a:xfrm>
            <a:off x="3830451" y="3293963"/>
            <a:ext cx="1483098" cy="270074"/>
          </a:xfrm>
          <a:prstGeom prst="rect">
            <a:avLst/>
          </a:prstGeom>
        </p:spPr>
        <p:txBody>
          <a:bodyPr wrap="none">
            <a:spAutoFit/>
          </a:bodyPr>
          <a:lstStyle/>
          <a:p>
            <a:pPr marL="342900" marR="0" lvl="0" indent="-342900">
              <a:lnSpc>
                <a:spcPct val="105000"/>
              </a:lnSpc>
              <a:spcBef>
                <a:spcPts val="0"/>
              </a:spcBef>
              <a:spcAft>
                <a:spcPts val="0"/>
              </a:spcAft>
              <a:buFont typeface="+mj-lt"/>
              <a:buAutoNum type="arabicPeriod"/>
            </a:pPr>
            <a:r>
              <a:rPr lang="en-GB" sz="1100" b="1" dirty="0">
                <a:latin typeface="Verdana" panose="020B0604030504040204" pitchFamily="34" charset="0"/>
                <a:ea typeface="Calibri" panose="020F0502020204030204" pitchFamily="34" charset="0"/>
                <a:cs typeface="Times New Roman" panose="02020603050405020304" pitchFamily="18" charset="0"/>
              </a:rPr>
              <a:t>3 minutes</a:t>
            </a:r>
            <a:r>
              <a:rPr lang="en-GB" sz="1100" dirty="0">
                <a:latin typeface="Verdana" panose="020B0604030504040204" pitchFamily="34" charset="0"/>
                <a:ea typeface="Calibri" panose="020F0502020204030204" pitchFamily="34" charset="0"/>
                <a:cs typeface="Times New Roman" panose="02020603050405020304" pitchFamily="18" charset="0"/>
              </a:rPr>
              <a:t> :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6866" name="Picture 2"/>
          <p:cNvPicPr>
            <a:picLocks noChangeAspect="1" noChangeArrowheads="1"/>
          </p:cNvPicPr>
          <p:nvPr/>
        </p:nvPicPr>
        <p:blipFill>
          <a:blip r:embed="rId3"/>
          <a:srcRect/>
          <a:stretch>
            <a:fillRect/>
          </a:stretch>
        </p:blipFill>
        <p:spPr bwMode="auto">
          <a:xfrm>
            <a:off x="2238375" y="1838325"/>
            <a:ext cx="4667250" cy="3181350"/>
          </a:xfrm>
          <a:prstGeom prst="rect">
            <a:avLst/>
          </a:prstGeom>
          <a:noFill/>
          <a:ln w="9525">
            <a:noFill/>
            <a:miter lim="800000"/>
            <a:headEnd/>
            <a:tailEnd/>
          </a:ln>
          <a:effectLst/>
        </p:spPr>
      </p:pic>
      <p:pic>
        <p:nvPicPr>
          <p:cNvPr id="36867" name="Picture 3"/>
          <p:cNvPicPr>
            <a:picLocks noChangeAspect="1" noChangeArrowheads="1"/>
          </p:cNvPicPr>
          <p:nvPr/>
        </p:nvPicPr>
        <p:blipFill>
          <a:blip r:embed="rId4"/>
          <a:srcRect/>
          <a:stretch>
            <a:fillRect/>
          </a:stretch>
        </p:blipFill>
        <p:spPr bwMode="auto">
          <a:xfrm>
            <a:off x="264502" y="351692"/>
            <a:ext cx="1885950" cy="457200"/>
          </a:xfrm>
          <a:prstGeom prst="rect">
            <a:avLst/>
          </a:prstGeom>
          <a:noFill/>
          <a:ln w="9525">
            <a:noFill/>
            <a:miter lim="800000"/>
            <a:headEnd/>
            <a:tailEnd/>
          </a:ln>
          <a:effectLst/>
        </p:spPr>
      </p:pic>
    </p:spTree>
    <p:extLst>
      <p:ext uri="{BB962C8B-B14F-4D97-AF65-F5344CB8AC3E}">
        <p14:creationId xmlns="" xmlns:p14="http://schemas.microsoft.com/office/powerpoint/2010/main" val="60730717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SOC_Text2"/>
          <p:cNvSpPr txBox="1">
            <a:spLocks/>
          </p:cNvSpPr>
          <p:nvPr/>
        </p:nvSpPr>
        <p:spPr bwMode="gray">
          <a:xfrm>
            <a:off x="374211" y="5052646"/>
            <a:ext cx="7079737" cy="157944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endParaRPr lang="en-US" sz="700" dirty="0">
              <a:solidFill>
                <a:schemeClr val="tx1"/>
              </a:solidFill>
            </a:endParaRPr>
          </a:p>
        </p:txBody>
      </p:sp>
      <p:pic>
        <p:nvPicPr>
          <p:cNvPr id="3" name="Picture 3"/>
          <p:cNvPicPr>
            <a:picLocks noChangeAspect="1" noChangeArrowheads="1"/>
          </p:cNvPicPr>
          <p:nvPr/>
        </p:nvPicPr>
        <p:blipFill>
          <a:blip r:embed="rId2"/>
          <a:srcRect/>
          <a:stretch>
            <a:fillRect/>
          </a:stretch>
        </p:blipFill>
        <p:spPr bwMode="auto">
          <a:xfrm>
            <a:off x="264502" y="351692"/>
            <a:ext cx="1885950" cy="457200"/>
          </a:xfrm>
          <a:prstGeom prst="rect">
            <a:avLst/>
          </a:prstGeom>
          <a:noFill/>
          <a:ln w="9525">
            <a:noFill/>
            <a:miter lim="800000"/>
            <a:headEnd/>
            <a:tailEnd/>
          </a:ln>
          <a:effectLst/>
        </p:spPr>
      </p:pic>
      <p:pic>
        <p:nvPicPr>
          <p:cNvPr id="37890" name="Picture 2" descr="C:\Users\Mr\Desktop\AWS\Pics\LOGO.JPG"/>
          <p:cNvPicPr>
            <a:picLocks noChangeAspect="1" noChangeArrowheads="1"/>
          </p:cNvPicPr>
          <p:nvPr/>
        </p:nvPicPr>
        <p:blipFill>
          <a:blip r:embed="rId3"/>
          <a:srcRect/>
          <a:stretch>
            <a:fillRect/>
          </a:stretch>
        </p:blipFill>
        <p:spPr bwMode="auto">
          <a:xfrm>
            <a:off x="2555632" y="2217127"/>
            <a:ext cx="4630614" cy="3034812"/>
          </a:xfrm>
          <a:prstGeom prst="rect">
            <a:avLst/>
          </a:prstGeom>
          <a:noFill/>
        </p:spPr>
      </p:pic>
    </p:spTree>
    <p:extLst>
      <p:ext uri="{BB962C8B-B14F-4D97-AF65-F5344CB8AC3E}">
        <p14:creationId xmlns="" xmlns:p14="http://schemas.microsoft.com/office/powerpoint/2010/main" val="15497598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03245" y="778583"/>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lvl="1" algn="ctr">
              <a:spcBef>
                <a:spcPts val="300"/>
              </a:spcBef>
              <a:buSzPct val="100000"/>
            </a:pPr>
            <a:r>
              <a:rPr lang="en-US" sz="1100" dirty="0" smtClean="0"/>
              <a:t>Elders are at the priority level , we young youth most of the time our busy in our day to day life schedule and on the other side elders are left alone in the homes  and we can get exact information about their health about their needs,</a:t>
            </a:r>
            <a:endParaRPr lang="en-US" sz="1200" i="1" dirty="0">
              <a:solidFill>
                <a:schemeClr val="tx1"/>
              </a:solidFill>
            </a:endParaRPr>
          </a:p>
        </p:txBody>
      </p:sp>
      <p:sp>
        <p:nvSpPr>
          <p:cNvPr id="6" name="AutoShape 108"/>
          <p:cNvSpPr>
            <a:spLocks noChangeArrowheads="1"/>
          </p:cNvSpPr>
          <p:nvPr/>
        </p:nvSpPr>
        <p:spPr bwMode="auto">
          <a:xfrm>
            <a:off x="3523184" y="1570415"/>
            <a:ext cx="2146697" cy="340145"/>
          </a:xfrm>
          <a:prstGeom prst="chevron">
            <a:avLst>
              <a:gd name="adj" fmla="val 34751"/>
            </a:avLst>
          </a:prstGeom>
          <a:solidFill>
            <a:schemeClr val="accent3"/>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Solution</a:t>
            </a:r>
          </a:p>
        </p:txBody>
      </p:sp>
      <p:sp>
        <p:nvSpPr>
          <p:cNvPr id="7" name="AutoShape 109"/>
          <p:cNvSpPr>
            <a:spLocks noChangeArrowheads="1"/>
          </p:cNvSpPr>
          <p:nvPr/>
        </p:nvSpPr>
        <p:spPr bwMode="auto">
          <a:xfrm>
            <a:off x="710764" y="1570415"/>
            <a:ext cx="2190703" cy="340145"/>
          </a:xfrm>
          <a:prstGeom prst="homePlate">
            <a:avLst>
              <a:gd name="adj" fmla="val 34751"/>
            </a:avLst>
          </a:prstGeom>
          <a:solidFill>
            <a:schemeClr val="tx2"/>
          </a:solidFill>
          <a:ln w="3175" cap="rnd" algn="ctr">
            <a:noFill/>
            <a:miter lim="800000"/>
            <a:headEnd/>
            <a:tailEnd/>
          </a:ln>
        </p:spPr>
        <p:txBody>
          <a:bodyPr lIns="34290" anchor="ctr" anchorCtr="1"/>
          <a:lstStyle/>
          <a:p>
            <a:pPr algn="ctr" eaLnBrk="0" hangingPunct="0">
              <a:lnSpc>
                <a:spcPct val="106000"/>
              </a:lnSpc>
            </a:pPr>
            <a:r>
              <a:rPr lang="en-US" sz="1050" b="1" dirty="0">
                <a:solidFill>
                  <a:srgbClr val="FFFFFF"/>
                </a:solidFill>
              </a:rPr>
              <a:t>Issue</a:t>
            </a:r>
          </a:p>
        </p:txBody>
      </p:sp>
      <p:sp>
        <p:nvSpPr>
          <p:cNvPr id="8" name="Freeform 10"/>
          <p:cNvSpPr>
            <a:spLocks noEditPoints="1"/>
          </p:cNvSpPr>
          <p:nvPr/>
        </p:nvSpPr>
        <p:spPr bwMode="auto">
          <a:xfrm>
            <a:off x="756450" y="1587283"/>
            <a:ext cx="241208" cy="256031"/>
          </a:xfrm>
          <a:custGeom>
            <a:avLst/>
            <a:gdLst>
              <a:gd name="T0" fmla="*/ 866 w 2217"/>
              <a:gd name="T1" fmla="*/ 2154 h 2846"/>
              <a:gd name="T2" fmla="*/ 794 w 2217"/>
              <a:gd name="T3" fmla="*/ 2223 h 2846"/>
              <a:gd name="T4" fmla="*/ 694 w 2217"/>
              <a:gd name="T5" fmla="*/ 2187 h 2846"/>
              <a:gd name="T6" fmla="*/ 401 w 2217"/>
              <a:gd name="T7" fmla="*/ 2066 h 2846"/>
              <a:gd name="T8" fmla="*/ 329 w 2217"/>
              <a:gd name="T9" fmla="*/ 2135 h 2846"/>
              <a:gd name="T10" fmla="*/ 220 w 2217"/>
              <a:gd name="T11" fmla="*/ 2055 h 2846"/>
              <a:gd name="T12" fmla="*/ 56 w 2217"/>
              <a:gd name="T13" fmla="*/ 1957 h 2846"/>
              <a:gd name="T14" fmla="*/ 656 w 2217"/>
              <a:gd name="T15" fmla="*/ 2430 h 2846"/>
              <a:gd name="T16" fmla="*/ 1006 w 2217"/>
              <a:gd name="T17" fmla="*/ 2380 h 2846"/>
              <a:gd name="T18" fmla="*/ 865 w 2217"/>
              <a:gd name="T19" fmla="*/ 2509 h 2846"/>
              <a:gd name="T20" fmla="*/ 581 w 2217"/>
              <a:gd name="T21" fmla="*/ 2800 h 2846"/>
              <a:gd name="T22" fmla="*/ 894 w 2217"/>
              <a:gd name="T23" fmla="*/ 2512 h 2846"/>
              <a:gd name="T24" fmla="*/ 1801 w 2217"/>
              <a:gd name="T25" fmla="*/ 280 h 2846"/>
              <a:gd name="T26" fmla="*/ 1521 w 2217"/>
              <a:gd name="T27" fmla="*/ 560 h 2846"/>
              <a:gd name="T28" fmla="*/ 359 w 2217"/>
              <a:gd name="T29" fmla="*/ 2081 h 2846"/>
              <a:gd name="T30" fmla="*/ 378 w 2217"/>
              <a:gd name="T31" fmla="*/ 1980 h 2846"/>
              <a:gd name="T32" fmla="*/ 297 w 2217"/>
              <a:gd name="T33" fmla="*/ 1945 h 2846"/>
              <a:gd name="T34" fmla="*/ 262 w 2217"/>
              <a:gd name="T35" fmla="*/ 2040 h 2846"/>
              <a:gd name="T36" fmla="*/ 336 w 2217"/>
              <a:gd name="T37" fmla="*/ 2097 h 2846"/>
              <a:gd name="T38" fmla="*/ 1651 w 2217"/>
              <a:gd name="T39" fmla="*/ 858 h 2846"/>
              <a:gd name="T40" fmla="*/ 1041 w 2217"/>
              <a:gd name="T41" fmla="*/ 669 h 2846"/>
              <a:gd name="T42" fmla="*/ 630 w 2217"/>
              <a:gd name="T43" fmla="*/ 1094 h 2846"/>
              <a:gd name="T44" fmla="*/ 450 w 2217"/>
              <a:gd name="T45" fmla="*/ 1530 h 2846"/>
              <a:gd name="T46" fmla="*/ 235 w 2217"/>
              <a:gd name="T47" fmla="*/ 1624 h 2846"/>
              <a:gd name="T48" fmla="*/ 80 w 2217"/>
              <a:gd name="T49" fmla="*/ 1833 h 2846"/>
              <a:gd name="T50" fmla="*/ 235 w 2217"/>
              <a:gd name="T51" fmla="*/ 1975 h 2846"/>
              <a:gd name="T52" fmla="*/ 308 w 2217"/>
              <a:gd name="T53" fmla="*/ 1907 h 2846"/>
              <a:gd name="T54" fmla="*/ 416 w 2217"/>
              <a:gd name="T55" fmla="*/ 1987 h 2846"/>
              <a:gd name="T56" fmla="*/ 704 w 2217"/>
              <a:gd name="T57" fmla="*/ 2041 h 2846"/>
              <a:gd name="T58" fmla="*/ 835 w 2217"/>
              <a:gd name="T59" fmla="*/ 2007 h 2846"/>
              <a:gd name="T60" fmla="*/ 881 w 2217"/>
              <a:gd name="T61" fmla="*/ 2075 h 2846"/>
              <a:gd name="T62" fmla="*/ 944 w 2217"/>
              <a:gd name="T63" fmla="*/ 2109 h 2846"/>
              <a:gd name="T64" fmla="*/ 1074 w 2217"/>
              <a:gd name="T65" fmla="*/ 2021 h 2846"/>
              <a:gd name="T66" fmla="*/ 904 w 2217"/>
              <a:gd name="T67" fmla="*/ 1751 h 2846"/>
              <a:gd name="T68" fmla="*/ 839 w 2217"/>
              <a:gd name="T69" fmla="*/ 1604 h 2846"/>
              <a:gd name="T70" fmla="*/ 805 w 2217"/>
              <a:gd name="T71" fmla="*/ 1533 h 2846"/>
              <a:gd name="T72" fmla="*/ 938 w 2217"/>
              <a:gd name="T73" fmla="*/ 1490 h 2846"/>
              <a:gd name="T74" fmla="*/ 1110 w 2217"/>
              <a:gd name="T75" fmla="*/ 1796 h 2846"/>
              <a:gd name="T76" fmla="*/ 1041 w 2217"/>
              <a:gd name="T77" fmla="*/ 2398 h 2846"/>
              <a:gd name="T78" fmla="*/ 1171 w 2217"/>
              <a:gd name="T79" fmla="*/ 2185 h 2846"/>
              <a:gd name="T80" fmla="*/ 1797 w 2217"/>
              <a:gd name="T81" fmla="*/ 2816 h 2846"/>
              <a:gd name="T82" fmla="*/ 1509 w 2217"/>
              <a:gd name="T83" fmla="*/ 1198 h 2846"/>
              <a:gd name="T84" fmla="*/ 1661 w 2217"/>
              <a:gd name="T85" fmla="*/ 1439 h 2846"/>
              <a:gd name="T86" fmla="*/ 2167 w 2217"/>
              <a:gd name="T87" fmla="*/ 1547 h 2846"/>
              <a:gd name="T88" fmla="*/ 490 w 2217"/>
              <a:gd name="T89" fmla="*/ 1615 h 2846"/>
              <a:gd name="T90" fmla="*/ 544 w 2217"/>
              <a:gd name="T91" fmla="*/ 1600 h 2846"/>
              <a:gd name="T92" fmla="*/ 646 w 2217"/>
              <a:gd name="T93" fmla="*/ 1667 h 2846"/>
              <a:gd name="T94" fmla="*/ 767 w 2217"/>
              <a:gd name="T95" fmla="*/ 1646 h 2846"/>
              <a:gd name="T96" fmla="*/ 801 w 2217"/>
              <a:gd name="T97" fmla="*/ 2185 h 2846"/>
              <a:gd name="T98" fmla="*/ 824 w 2217"/>
              <a:gd name="T99" fmla="*/ 2169 h 2846"/>
              <a:gd name="T100" fmla="*/ 839 w 2217"/>
              <a:gd name="T101" fmla="*/ 2089 h 2846"/>
              <a:gd name="T102" fmla="*/ 765 w 2217"/>
              <a:gd name="T103" fmla="*/ 2033 h 2846"/>
              <a:gd name="T104" fmla="*/ 738 w 2217"/>
              <a:gd name="T105" fmla="*/ 2070 h 2846"/>
              <a:gd name="T106" fmla="*/ 739 w 2217"/>
              <a:gd name="T107" fmla="*/ 2173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846">
                <a:moveTo>
                  <a:pt x="965" y="2170"/>
                </a:moveTo>
                <a:cubicBezTo>
                  <a:pt x="955" y="2170"/>
                  <a:pt x="944" y="2169"/>
                  <a:pt x="933" y="2167"/>
                </a:cubicBezTo>
                <a:cubicBezTo>
                  <a:pt x="866" y="2154"/>
                  <a:pt x="866" y="2154"/>
                  <a:pt x="866" y="2154"/>
                </a:cubicBezTo>
                <a:cubicBezTo>
                  <a:pt x="862" y="2176"/>
                  <a:pt x="862" y="2176"/>
                  <a:pt x="862" y="2176"/>
                </a:cubicBezTo>
                <a:cubicBezTo>
                  <a:pt x="857" y="2204"/>
                  <a:pt x="833" y="2224"/>
                  <a:pt x="805" y="2224"/>
                </a:cubicBezTo>
                <a:cubicBezTo>
                  <a:pt x="801" y="2224"/>
                  <a:pt x="797" y="2223"/>
                  <a:pt x="794" y="2223"/>
                </a:cubicBezTo>
                <a:cubicBezTo>
                  <a:pt x="788" y="2222"/>
                  <a:pt x="788" y="2222"/>
                  <a:pt x="788" y="2222"/>
                </a:cubicBezTo>
                <a:cubicBezTo>
                  <a:pt x="732" y="2211"/>
                  <a:pt x="732" y="2211"/>
                  <a:pt x="732" y="2211"/>
                </a:cubicBezTo>
                <a:cubicBezTo>
                  <a:pt x="716" y="2208"/>
                  <a:pt x="703" y="2199"/>
                  <a:pt x="694" y="2187"/>
                </a:cubicBezTo>
                <a:cubicBezTo>
                  <a:pt x="685" y="2174"/>
                  <a:pt x="682" y="2158"/>
                  <a:pt x="685" y="2143"/>
                </a:cubicBezTo>
                <a:cubicBezTo>
                  <a:pt x="689" y="2120"/>
                  <a:pt x="689" y="2120"/>
                  <a:pt x="689" y="2120"/>
                </a:cubicBezTo>
                <a:cubicBezTo>
                  <a:pt x="401" y="2066"/>
                  <a:pt x="401" y="2066"/>
                  <a:pt x="401" y="2066"/>
                </a:cubicBezTo>
                <a:cubicBezTo>
                  <a:pt x="397" y="2088"/>
                  <a:pt x="397" y="2088"/>
                  <a:pt x="397" y="2088"/>
                </a:cubicBezTo>
                <a:cubicBezTo>
                  <a:pt x="392" y="2116"/>
                  <a:pt x="368" y="2136"/>
                  <a:pt x="340" y="2136"/>
                </a:cubicBezTo>
                <a:cubicBezTo>
                  <a:pt x="336" y="2136"/>
                  <a:pt x="332" y="2136"/>
                  <a:pt x="329" y="2135"/>
                </a:cubicBezTo>
                <a:cubicBezTo>
                  <a:pt x="267" y="2123"/>
                  <a:pt x="267" y="2123"/>
                  <a:pt x="267" y="2123"/>
                </a:cubicBezTo>
                <a:cubicBezTo>
                  <a:pt x="251" y="2120"/>
                  <a:pt x="238" y="2112"/>
                  <a:pt x="229" y="2099"/>
                </a:cubicBezTo>
                <a:cubicBezTo>
                  <a:pt x="220" y="2086"/>
                  <a:pt x="217" y="2070"/>
                  <a:pt x="220" y="2055"/>
                </a:cubicBezTo>
                <a:cubicBezTo>
                  <a:pt x="224" y="2032"/>
                  <a:pt x="224" y="2032"/>
                  <a:pt x="224" y="2032"/>
                </a:cubicBezTo>
                <a:cubicBezTo>
                  <a:pt x="157" y="2020"/>
                  <a:pt x="157" y="2020"/>
                  <a:pt x="157" y="2020"/>
                </a:cubicBezTo>
                <a:cubicBezTo>
                  <a:pt x="115" y="2012"/>
                  <a:pt x="80" y="1989"/>
                  <a:pt x="56" y="1957"/>
                </a:cubicBezTo>
                <a:cubicBezTo>
                  <a:pt x="12" y="2192"/>
                  <a:pt x="12" y="2192"/>
                  <a:pt x="12" y="2192"/>
                </a:cubicBezTo>
                <a:cubicBezTo>
                  <a:pt x="0" y="2254"/>
                  <a:pt x="41" y="2314"/>
                  <a:pt x="103" y="2326"/>
                </a:cubicBezTo>
                <a:cubicBezTo>
                  <a:pt x="656" y="2430"/>
                  <a:pt x="656" y="2430"/>
                  <a:pt x="656" y="2430"/>
                </a:cubicBezTo>
                <a:cubicBezTo>
                  <a:pt x="872" y="2471"/>
                  <a:pt x="872" y="2471"/>
                  <a:pt x="872" y="2471"/>
                </a:cubicBezTo>
                <a:cubicBezTo>
                  <a:pt x="880" y="2473"/>
                  <a:pt x="887" y="2473"/>
                  <a:pt x="894" y="2473"/>
                </a:cubicBezTo>
                <a:cubicBezTo>
                  <a:pt x="948" y="2473"/>
                  <a:pt x="995" y="2435"/>
                  <a:pt x="1006" y="2380"/>
                </a:cubicBezTo>
                <a:cubicBezTo>
                  <a:pt x="1050" y="2146"/>
                  <a:pt x="1050" y="2146"/>
                  <a:pt x="1050" y="2146"/>
                </a:cubicBezTo>
                <a:cubicBezTo>
                  <a:pt x="1024" y="2161"/>
                  <a:pt x="995" y="2170"/>
                  <a:pt x="965" y="2170"/>
                </a:cubicBezTo>
                <a:close/>
                <a:moveTo>
                  <a:pt x="865" y="2509"/>
                </a:moveTo>
                <a:cubicBezTo>
                  <a:pt x="634" y="2466"/>
                  <a:pt x="634" y="2466"/>
                  <a:pt x="634" y="2466"/>
                </a:cubicBezTo>
                <a:cubicBezTo>
                  <a:pt x="543" y="2608"/>
                  <a:pt x="543" y="2608"/>
                  <a:pt x="543" y="2608"/>
                </a:cubicBezTo>
                <a:cubicBezTo>
                  <a:pt x="503" y="2671"/>
                  <a:pt x="519" y="2756"/>
                  <a:pt x="581" y="2800"/>
                </a:cubicBezTo>
                <a:cubicBezTo>
                  <a:pt x="646" y="2846"/>
                  <a:pt x="734" y="2831"/>
                  <a:pt x="780" y="2766"/>
                </a:cubicBezTo>
                <a:cubicBezTo>
                  <a:pt x="979" y="2485"/>
                  <a:pt x="979" y="2485"/>
                  <a:pt x="979" y="2485"/>
                </a:cubicBezTo>
                <a:cubicBezTo>
                  <a:pt x="955" y="2502"/>
                  <a:pt x="925" y="2512"/>
                  <a:pt x="894" y="2512"/>
                </a:cubicBezTo>
                <a:cubicBezTo>
                  <a:pt x="884" y="2512"/>
                  <a:pt x="875" y="2511"/>
                  <a:pt x="865" y="2509"/>
                </a:cubicBezTo>
                <a:close/>
                <a:moveTo>
                  <a:pt x="1521" y="560"/>
                </a:moveTo>
                <a:cubicBezTo>
                  <a:pt x="1675" y="560"/>
                  <a:pt x="1801" y="435"/>
                  <a:pt x="1801" y="280"/>
                </a:cubicBezTo>
                <a:cubicBezTo>
                  <a:pt x="1801" y="125"/>
                  <a:pt x="1675" y="0"/>
                  <a:pt x="1521" y="0"/>
                </a:cubicBezTo>
                <a:cubicBezTo>
                  <a:pt x="1366" y="0"/>
                  <a:pt x="1241" y="125"/>
                  <a:pt x="1241" y="280"/>
                </a:cubicBezTo>
                <a:cubicBezTo>
                  <a:pt x="1241" y="435"/>
                  <a:pt x="1366" y="560"/>
                  <a:pt x="1521" y="560"/>
                </a:cubicBezTo>
                <a:close/>
                <a:moveTo>
                  <a:pt x="336" y="2097"/>
                </a:moveTo>
                <a:cubicBezTo>
                  <a:pt x="337" y="2097"/>
                  <a:pt x="338" y="2097"/>
                  <a:pt x="340" y="2097"/>
                </a:cubicBezTo>
                <a:cubicBezTo>
                  <a:pt x="349" y="2097"/>
                  <a:pt x="357" y="2091"/>
                  <a:pt x="359" y="2081"/>
                </a:cubicBezTo>
                <a:cubicBezTo>
                  <a:pt x="363" y="2059"/>
                  <a:pt x="363" y="2059"/>
                  <a:pt x="363" y="2059"/>
                </a:cubicBezTo>
                <a:cubicBezTo>
                  <a:pt x="374" y="2001"/>
                  <a:pt x="374" y="2001"/>
                  <a:pt x="374" y="2001"/>
                </a:cubicBezTo>
                <a:cubicBezTo>
                  <a:pt x="378" y="1980"/>
                  <a:pt x="378" y="1980"/>
                  <a:pt x="378" y="1980"/>
                </a:cubicBezTo>
                <a:cubicBezTo>
                  <a:pt x="380" y="1969"/>
                  <a:pt x="373" y="1959"/>
                  <a:pt x="362" y="1957"/>
                </a:cubicBezTo>
                <a:cubicBezTo>
                  <a:pt x="300" y="1945"/>
                  <a:pt x="300" y="1945"/>
                  <a:pt x="300" y="1945"/>
                </a:cubicBezTo>
                <a:cubicBezTo>
                  <a:pt x="299" y="1945"/>
                  <a:pt x="298" y="1945"/>
                  <a:pt x="297" y="1945"/>
                </a:cubicBezTo>
                <a:cubicBezTo>
                  <a:pt x="287" y="1945"/>
                  <a:pt x="279" y="1951"/>
                  <a:pt x="277" y="1961"/>
                </a:cubicBezTo>
                <a:cubicBezTo>
                  <a:pt x="273" y="1982"/>
                  <a:pt x="273" y="1982"/>
                  <a:pt x="273" y="1982"/>
                </a:cubicBezTo>
                <a:cubicBezTo>
                  <a:pt x="262" y="2040"/>
                  <a:pt x="262" y="2040"/>
                  <a:pt x="262" y="2040"/>
                </a:cubicBezTo>
                <a:cubicBezTo>
                  <a:pt x="258" y="2062"/>
                  <a:pt x="258" y="2062"/>
                  <a:pt x="258" y="2062"/>
                </a:cubicBezTo>
                <a:cubicBezTo>
                  <a:pt x="256" y="2073"/>
                  <a:pt x="263" y="2083"/>
                  <a:pt x="274" y="2085"/>
                </a:cubicBezTo>
                <a:lnTo>
                  <a:pt x="336" y="2097"/>
                </a:lnTo>
                <a:close/>
                <a:moveTo>
                  <a:pt x="2167" y="1547"/>
                </a:moveTo>
                <a:cubicBezTo>
                  <a:pt x="1865" y="1253"/>
                  <a:pt x="1865" y="1253"/>
                  <a:pt x="1865" y="1253"/>
                </a:cubicBezTo>
                <a:cubicBezTo>
                  <a:pt x="1651" y="858"/>
                  <a:pt x="1651" y="858"/>
                  <a:pt x="1651" y="858"/>
                </a:cubicBezTo>
                <a:cubicBezTo>
                  <a:pt x="1603" y="773"/>
                  <a:pt x="1578" y="700"/>
                  <a:pt x="1443" y="649"/>
                </a:cubicBezTo>
                <a:cubicBezTo>
                  <a:pt x="1443" y="649"/>
                  <a:pt x="1376" y="627"/>
                  <a:pt x="1311" y="604"/>
                </a:cubicBezTo>
                <a:cubicBezTo>
                  <a:pt x="1246" y="582"/>
                  <a:pt x="1132" y="584"/>
                  <a:pt x="1041" y="669"/>
                </a:cubicBezTo>
                <a:cubicBezTo>
                  <a:pt x="949" y="755"/>
                  <a:pt x="672" y="1019"/>
                  <a:pt x="672" y="1019"/>
                </a:cubicBezTo>
                <a:cubicBezTo>
                  <a:pt x="666" y="1025"/>
                  <a:pt x="666" y="1025"/>
                  <a:pt x="666" y="1025"/>
                </a:cubicBezTo>
                <a:cubicBezTo>
                  <a:pt x="648" y="1043"/>
                  <a:pt x="634" y="1066"/>
                  <a:pt x="630" y="1094"/>
                </a:cubicBezTo>
                <a:cubicBezTo>
                  <a:pt x="564" y="1471"/>
                  <a:pt x="564" y="1471"/>
                  <a:pt x="564" y="1471"/>
                </a:cubicBezTo>
                <a:cubicBezTo>
                  <a:pt x="557" y="1510"/>
                  <a:pt x="557" y="1510"/>
                  <a:pt x="557" y="1510"/>
                </a:cubicBezTo>
                <a:cubicBezTo>
                  <a:pt x="521" y="1512"/>
                  <a:pt x="485" y="1519"/>
                  <a:pt x="450" y="1530"/>
                </a:cubicBezTo>
                <a:cubicBezTo>
                  <a:pt x="434" y="1535"/>
                  <a:pt x="419" y="1555"/>
                  <a:pt x="416" y="1572"/>
                </a:cubicBezTo>
                <a:cubicBezTo>
                  <a:pt x="400" y="1656"/>
                  <a:pt x="400" y="1656"/>
                  <a:pt x="400" y="1656"/>
                </a:cubicBezTo>
                <a:cubicBezTo>
                  <a:pt x="235" y="1624"/>
                  <a:pt x="235" y="1624"/>
                  <a:pt x="235" y="1624"/>
                </a:cubicBezTo>
                <a:cubicBezTo>
                  <a:pt x="228" y="1623"/>
                  <a:pt x="221" y="1622"/>
                  <a:pt x="214" y="1622"/>
                </a:cubicBezTo>
                <a:cubicBezTo>
                  <a:pt x="160" y="1622"/>
                  <a:pt x="112" y="1661"/>
                  <a:pt x="102" y="1715"/>
                </a:cubicBezTo>
                <a:cubicBezTo>
                  <a:pt x="80" y="1833"/>
                  <a:pt x="80" y="1833"/>
                  <a:pt x="80" y="1833"/>
                </a:cubicBezTo>
                <a:cubicBezTo>
                  <a:pt x="80" y="1834"/>
                  <a:pt x="80" y="1834"/>
                  <a:pt x="80" y="1834"/>
                </a:cubicBezTo>
                <a:cubicBezTo>
                  <a:pt x="69" y="1893"/>
                  <a:pt x="109" y="1951"/>
                  <a:pt x="168" y="1962"/>
                </a:cubicBezTo>
                <a:cubicBezTo>
                  <a:pt x="235" y="1975"/>
                  <a:pt x="235" y="1975"/>
                  <a:pt x="235" y="1975"/>
                </a:cubicBezTo>
                <a:cubicBezTo>
                  <a:pt x="239" y="1953"/>
                  <a:pt x="239" y="1953"/>
                  <a:pt x="239" y="1953"/>
                </a:cubicBezTo>
                <a:cubicBezTo>
                  <a:pt x="245" y="1926"/>
                  <a:pt x="269" y="1906"/>
                  <a:pt x="297" y="1906"/>
                </a:cubicBezTo>
                <a:cubicBezTo>
                  <a:pt x="300" y="1906"/>
                  <a:pt x="304" y="1906"/>
                  <a:pt x="308" y="1907"/>
                </a:cubicBezTo>
                <a:cubicBezTo>
                  <a:pt x="370" y="1919"/>
                  <a:pt x="370" y="1919"/>
                  <a:pt x="370" y="1919"/>
                </a:cubicBezTo>
                <a:cubicBezTo>
                  <a:pt x="385" y="1921"/>
                  <a:pt x="398" y="1930"/>
                  <a:pt x="407" y="1943"/>
                </a:cubicBezTo>
                <a:cubicBezTo>
                  <a:pt x="416" y="1956"/>
                  <a:pt x="419" y="1972"/>
                  <a:pt x="416" y="1987"/>
                </a:cubicBezTo>
                <a:cubicBezTo>
                  <a:pt x="412" y="2008"/>
                  <a:pt x="412" y="2008"/>
                  <a:pt x="412" y="2008"/>
                </a:cubicBezTo>
                <a:cubicBezTo>
                  <a:pt x="700" y="2063"/>
                  <a:pt x="700" y="2063"/>
                  <a:pt x="700" y="2063"/>
                </a:cubicBezTo>
                <a:cubicBezTo>
                  <a:pt x="704" y="2041"/>
                  <a:pt x="704" y="2041"/>
                  <a:pt x="704" y="2041"/>
                </a:cubicBezTo>
                <a:cubicBezTo>
                  <a:pt x="709" y="2014"/>
                  <a:pt x="734" y="1994"/>
                  <a:pt x="762" y="1994"/>
                </a:cubicBezTo>
                <a:cubicBezTo>
                  <a:pt x="765" y="1994"/>
                  <a:pt x="769" y="1994"/>
                  <a:pt x="773" y="1995"/>
                </a:cubicBezTo>
                <a:cubicBezTo>
                  <a:pt x="835" y="2007"/>
                  <a:pt x="835" y="2007"/>
                  <a:pt x="835" y="2007"/>
                </a:cubicBezTo>
                <a:cubicBezTo>
                  <a:pt x="849" y="2009"/>
                  <a:pt x="862" y="2018"/>
                  <a:pt x="870" y="2029"/>
                </a:cubicBezTo>
                <a:cubicBezTo>
                  <a:pt x="880" y="2042"/>
                  <a:pt x="884" y="2058"/>
                  <a:pt x="881" y="2075"/>
                </a:cubicBezTo>
                <a:cubicBezTo>
                  <a:pt x="881" y="2075"/>
                  <a:pt x="881" y="2075"/>
                  <a:pt x="881" y="2075"/>
                </a:cubicBezTo>
                <a:cubicBezTo>
                  <a:pt x="881" y="2076"/>
                  <a:pt x="881" y="2076"/>
                  <a:pt x="881" y="2076"/>
                </a:cubicBezTo>
                <a:cubicBezTo>
                  <a:pt x="877" y="2096"/>
                  <a:pt x="877" y="2096"/>
                  <a:pt x="877" y="2096"/>
                </a:cubicBezTo>
                <a:cubicBezTo>
                  <a:pt x="944" y="2109"/>
                  <a:pt x="944" y="2109"/>
                  <a:pt x="944" y="2109"/>
                </a:cubicBezTo>
                <a:cubicBezTo>
                  <a:pt x="973" y="2114"/>
                  <a:pt x="1002" y="2108"/>
                  <a:pt x="1027" y="2092"/>
                </a:cubicBezTo>
                <a:cubicBezTo>
                  <a:pt x="1051" y="2075"/>
                  <a:pt x="1067" y="2050"/>
                  <a:pt x="1073" y="2021"/>
                </a:cubicBezTo>
                <a:cubicBezTo>
                  <a:pt x="1074" y="2021"/>
                  <a:pt x="1074" y="2021"/>
                  <a:pt x="1074" y="2021"/>
                </a:cubicBezTo>
                <a:cubicBezTo>
                  <a:pt x="1096" y="1903"/>
                  <a:pt x="1096" y="1903"/>
                  <a:pt x="1096" y="1903"/>
                </a:cubicBezTo>
                <a:cubicBezTo>
                  <a:pt x="1108" y="1841"/>
                  <a:pt x="1067" y="1782"/>
                  <a:pt x="1005" y="1770"/>
                </a:cubicBezTo>
                <a:cubicBezTo>
                  <a:pt x="904" y="1751"/>
                  <a:pt x="904" y="1751"/>
                  <a:pt x="904" y="1751"/>
                </a:cubicBezTo>
                <a:cubicBezTo>
                  <a:pt x="840" y="1739"/>
                  <a:pt x="840" y="1739"/>
                  <a:pt x="840" y="1739"/>
                </a:cubicBezTo>
                <a:cubicBezTo>
                  <a:pt x="856" y="1655"/>
                  <a:pt x="856" y="1655"/>
                  <a:pt x="856" y="1655"/>
                </a:cubicBezTo>
                <a:cubicBezTo>
                  <a:pt x="859" y="1638"/>
                  <a:pt x="852" y="1614"/>
                  <a:pt x="839" y="1604"/>
                </a:cubicBezTo>
                <a:cubicBezTo>
                  <a:pt x="825" y="1592"/>
                  <a:pt x="811" y="1582"/>
                  <a:pt x="795" y="1573"/>
                </a:cubicBezTo>
                <a:cubicBezTo>
                  <a:pt x="800" y="1553"/>
                  <a:pt x="800" y="1553"/>
                  <a:pt x="800" y="1553"/>
                </a:cubicBezTo>
                <a:cubicBezTo>
                  <a:pt x="805" y="1533"/>
                  <a:pt x="805" y="1533"/>
                  <a:pt x="805" y="1533"/>
                </a:cubicBezTo>
                <a:cubicBezTo>
                  <a:pt x="888" y="1198"/>
                  <a:pt x="888" y="1198"/>
                  <a:pt x="888" y="1198"/>
                </a:cubicBezTo>
                <a:cubicBezTo>
                  <a:pt x="1013" y="1091"/>
                  <a:pt x="1013" y="1091"/>
                  <a:pt x="1013" y="1091"/>
                </a:cubicBezTo>
                <a:cubicBezTo>
                  <a:pt x="938" y="1490"/>
                  <a:pt x="938" y="1490"/>
                  <a:pt x="938" y="1490"/>
                </a:cubicBezTo>
                <a:cubicBezTo>
                  <a:pt x="909" y="1712"/>
                  <a:pt x="909" y="1712"/>
                  <a:pt x="909" y="1712"/>
                </a:cubicBezTo>
                <a:cubicBezTo>
                  <a:pt x="1012" y="1732"/>
                  <a:pt x="1012" y="1732"/>
                  <a:pt x="1012" y="1732"/>
                </a:cubicBezTo>
                <a:cubicBezTo>
                  <a:pt x="1052" y="1739"/>
                  <a:pt x="1087" y="1762"/>
                  <a:pt x="1110" y="1796"/>
                </a:cubicBezTo>
                <a:cubicBezTo>
                  <a:pt x="1133" y="1830"/>
                  <a:pt x="1142" y="1870"/>
                  <a:pt x="1134" y="1911"/>
                </a:cubicBezTo>
                <a:cubicBezTo>
                  <a:pt x="1044" y="2387"/>
                  <a:pt x="1044" y="2387"/>
                  <a:pt x="1044" y="2387"/>
                </a:cubicBezTo>
                <a:cubicBezTo>
                  <a:pt x="1043" y="2391"/>
                  <a:pt x="1042" y="2395"/>
                  <a:pt x="1041" y="2398"/>
                </a:cubicBezTo>
                <a:cubicBezTo>
                  <a:pt x="1146" y="2250"/>
                  <a:pt x="1146" y="2250"/>
                  <a:pt x="1146" y="2250"/>
                </a:cubicBezTo>
                <a:cubicBezTo>
                  <a:pt x="1157" y="2234"/>
                  <a:pt x="1166" y="2215"/>
                  <a:pt x="1169" y="2194"/>
                </a:cubicBezTo>
                <a:cubicBezTo>
                  <a:pt x="1171" y="2185"/>
                  <a:pt x="1171" y="2185"/>
                  <a:pt x="1171" y="2185"/>
                </a:cubicBezTo>
                <a:cubicBezTo>
                  <a:pt x="1235" y="1832"/>
                  <a:pt x="1235" y="1832"/>
                  <a:pt x="1235" y="1832"/>
                </a:cubicBezTo>
                <a:cubicBezTo>
                  <a:pt x="1617" y="2737"/>
                  <a:pt x="1617" y="2737"/>
                  <a:pt x="1617" y="2737"/>
                </a:cubicBezTo>
                <a:cubicBezTo>
                  <a:pt x="1647" y="2806"/>
                  <a:pt x="1725" y="2841"/>
                  <a:pt x="1797" y="2816"/>
                </a:cubicBezTo>
                <a:cubicBezTo>
                  <a:pt x="1871" y="2790"/>
                  <a:pt x="1909" y="2708"/>
                  <a:pt x="1883" y="2634"/>
                </a:cubicBezTo>
                <a:cubicBezTo>
                  <a:pt x="1448" y="1422"/>
                  <a:pt x="1448" y="1422"/>
                  <a:pt x="1448" y="1422"/>
                </a:cubicBezTo>
                <a:cubicBezTo>
                  <a:pt x="1509" y="1198"/>
                  <a:pt x="1509" y="1198"/>
                  <a:pt x="1509" y="1198"/>
                </a:cubicBezTo>
                <a:cubicBezTo>
                  <a:pt x="1634" y="1405"/>
                  <a:pt x="1634" y="1405"/>
                  <a:pt x="1634" y="1405"/>
                </a:cubicBezTo>
                <a:cubicBezTo>
                  <a:pt x="1638" y="1412"/>
                  <a:pt x="1638" y="1412"/>
                  <a:pt x="1638" y="1412"/>
                </a:cubicBezTo>
                <a:cubicBezTo>
                  <a:pt x="1644" y="1422"/>
                  <a:pt x="1652" y="1431"/>
                  <a:pt x="1661" y="1439"/>
                </a:cubicBezTo>
                <a:cubicBezTo>
                  <a:pt x="2003" y="1729"/>
                  <a:pt x="2003" y="1729"/>
                  <a:pt x="2003" y="1729"/>
                </a:cubicBezTo>
                <a:cubicBezTo>
                  <a:pt x="2051" y="1770"/>
                  <a:pt x="2124" y="1767"/>
                  <a:pt x="2170" y="1721"/>
                </a:cubicBezTo>
                <a:cubicBezTo>
                  <a:pt x="2217" y="1672"/>
                  <a:pt x="2216" y="1595"/>
                  <a:pt x="2167" y="1547"/>
                </a:cubicBezTo>
                <a:close/>
                <a:moveTo>
                  <a:pt x="761" y="1724"/>
                </a:moveTo>
                <a:cubicBezTo>
                  <a:pt x="479" y="1671"/>
                  <a:pt x="479" y="1671"/>
                  <a:pt x="479" y="1671"/>
                </a:cubicBezTo>
                <a:cubicBezTo>
                  <a:pt x="490" y="1615"/>
                  <a:pt x="490" y="1615"/>
                  <a:pt x="490" y="1615"/>
                </a:cubicBezTo>
                <a:cubicBezTo>
                  <a:pt x="491" y="1607"/>
                  <a:pt x="496" y="1601"/>
                  <a:pt x="502" y="1596"/>
                </a:cubicBezTo>
                <a:cubicBezTo>
                  <a:pt x="506" y="1594"/>
                  <a:pt x="510" y="1593"/>
                  <a:pt x="514" y="1593"/>
                </a:cubicBezTo>
                <a:cubicBezTo>
                  <a:pt x="524" y="1593"/>
                  <a:pt x="536" y="1597"/>
                  <a:pt x="544" y="1600"/>
                </a:cubicBezTo>
                <a:cubicBezTo>
                  <a:pt x="551" y="1602"/>
                  <a:pt x="560" y="1605"/>
                  <a:pt x="570" y="1608"/>
                </a:cubicBezTo>
                <a:cubicBezTo>
                  <a:pt x="575" y="1618"/>
                  <a:pt x="581" y="1626"/>
                  <a:pt x="589" y="1634"/>
                </a:cubicBezTo>
                <a:cubicBezTo>
                  <a:pt x="604" y="1649"/>
                  <a:pt x="623" y="1661"/>
                  <a:pt x="646" y="1667"/>
                </a:cubicBezTo>
                <a:cubicBezTo>
                  <a:pt x="677" y="1674"/>
                  <a:pt x="709" y="1669"/>
                  <a:pt x="735" y="1654"/>
                </a:cubicBezTo>
                <a:cubicBezTo>
                  <a:pt x="743" y="1650"/>
                  <a:pt x="750" y="1645"/>
                  <a:pt x="756" y="1639"/>
                </a:cubicBezTo>
                <a:cubicBezTo>
                  <a:pt x="761" y="1641"/>
                  <a:pt x="764" y="1643"/>
                  <a:pt x="767" y="1646"/>
                </a:cubicBezTo>
                <a:cubicBezTo>
                  <a:pt x="771" y="1653"/>
                  <a:pt x="773" y="1661"/>
                  <a:pt x="772" y="1669"/>
                </a:cubicBezTo>
                <a:lnTo>
                  <a:pt x="761" y="1724"/>
                </a:lnTo>
                <a:close/>
                <a:moveTo>
                  <a:pt x="801" y="2185"/>
                </a:moveTo>
                <a:cubicBezTo>
                  <a:pt x="802" y="2185"/>
                  <a:pt x="803" y="2185"/>
                  <a:pt x="805" y="2185"/>
                </a:cubicBezTo>
                <a:cubicBezTo>
                  <a:pt x="807" y="2185"/>
                  <a:pt x="810" y="2184"/>
                  <a:pt x="812" y="2183"/>
                </a:cubicBezTo>
                <a:cubicBezTo>
                  <a:pt x="818" y="2181"/>
                  <a:pt x="823" y="2176"/>
                  <a:pt x="824" y="2169"/>
                </a:cubicBezTo>
                <a:cubicBezTo>
                  <a:pt x="825" y="2163"/>
                  <a:pt x="825" y="2163"/>
                  <a:pt x="825" y="2163"/>
                </a:cubicBezTo>
                <a:cubicBezTo>
                  <a:pt x="828" y="2147"/>
                  <a:pt x="828" y="2147"/>
                  <a:pt x="828" y="2147"/>
                </a:cubicBezTo>
                <a:cubicBezTo>
                  <a:pt x="839" y="2089"/>
                  <a:pt x="839" y="2089"/>
                  <a:pt x="839" y="2089"/>
                </a:cubicBezTo>
                <a:cubicBezTo>
                  <a:pt x="843" y="2068"/>
                  <a:pt x="843" y="2068"/>
                  <a:pt x="843" y="2068"/>
                </a:cubicBezTo>
                <a:cubicBezTo>
                  <a:pt x="845" y="2057"/>
                  <a:pt x="838" y="2047"/>
                  <a:pt x="827" y="2045"/>
                </a:cubicBezTo>
                <a:cubicBezTo>
                  <a:pt x="765" y="2033"/>
                  <a:pt x="765" y="2033"/>
                  <a:pt x="765" y="2033"/>
                </a:cubicBezTo>
                <a:cubicBezTo>
                  <a:pt x="764" y="2033"/>
                  <a:pt x="763" y="2033"/>
                  <a:pt x="762" y="2033"/>
                </a:cubicBezTo>
                <a:cubicBezTo>
                  <a:pt x="752" y="2033"/>
                  <a:pt x="744" y="2039"/>
                  <a:pt x="742" y="2049"/>
                </a:cubicBezTo>
                <a:cubicBezTo>
                  <a:pt x="738" y="2070"/>
                  <a:pt x="738" y="2070"/>
                  <a:pt x="738" y="2070"/>
                </a:cubicBezTo>
                <a:cubicBezTo>
                  <a:pt x="727" y="2128"/>
                  <a:pt x="727" y="2128"/>
                  <a:pt x="727" y="2128"/>
                </a:cubicBezTo>
                <a:cubicBezTo>
                  <a:pt x="723" y="2150"/>
                  <a:pt x="723" y="2150"/>
                  <a:pt x="723" y="2150"/>
                </a:cubicBezTo>
                <a:cubicBezTo>
                  <a:pt x="721" y="2161"/>
                  <a:pt x="728" y="2171"/>
                  <a:pt x="739" y="2173"/>
                </a:cubicBezTo>
                <a:lnTo>
                  <a:pt x="801" y="2185"/>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9" name="Freeform 20"/>
          <p:cNvSpPr>
            <a:spLocks noEditPoints="1"/>
          </p:cNvSpPr>
          <p:nvPr/>
        </p:nvSpPr>
        <p:spPr bwMode="auto">
          <a:xfrm>
            <a:off x="3778839" y="1581711"/>
            <a:ext cx="276886" cy="289764"/>
          </a:xfrm>
          <a:custGeom>
            <a:avLst/>
            <a:gdLst>
              <a:gd name="T0" fmla="*/ 458 w 458"/>
              <a:gd name="T1" fmla="*/ 276 h 541"/>
              <a:gd name="T2" fmla="*/ 259 w 458"/>
              <a:gd name="T3" fmla="*/ 263 h 541"/>
              <a:gd name="T4" fmla="*/ 176 w 458"/>
              <a:gd name="T5" fmla="*/ 115 h 541"/>
              <a:gd name="T6" fmla="*/ 86 w 458"/>
              <a:gd name="T7" fmla="*/ 102 h 541"/>
              <a:gd name="T8" fmla="*/ 14 w 458"/>
              <a:gd name="T9" fmla="*/ 138 h 541"/>
              <a:gd name="T10" fmla="*/ 11 w 458"/>
              <a:gd name="T11" fmla="*/ 250 h 541"/>
              <a:gd name="T12" fmla="*/ 44 w 458"/>
              <a:gd name="T13" fmla="*/ 265 h 541"/>
              <a:gd name="T14" fmla="*/ 69 w 458"/>
              <a:gd name="T15" fmla="*/ 538 h 541"/>
              <a:gd name="T16" fmla="*/ 102 w 458"/>
              <a:gd name="T17" fmla="*/ 353 h 541"/>
              <a:gd name="T18" fmla="*/ 102 w 458"/>
              <a:gd name="T19" fmla="*/ 510 h 541"/>
              <a:gd name="T20" fmla="*/ 152 w 458"/>
              <a:gd name="T21" fmla="*/ 517 h 541"/>
              <a:gd name="T22" fmla="*/ 173 w 458"/>
              <a:gd name="T23" fmla="*/ 375 h 541"/>
              <a:gd name="T24" fmla="*/ 132 w 458"/>
              <a:gd name="T25" fmla="*/ 269 h 541"/>
              <a:gd name="T26" fmla="*/ 219 w 458"/>
              <a:gd name="T27" fmla="*/ 276 h 541"/>
              <a:gd name="T28" fmla="*/ 189 w 458"/>
              <a:gd name="T29" fmla="*/ 317 h 541"/>
              <a:gd name="T30" fmla="*/ 290 w 458"/>
              <a:gd name="T31" fmla="*/ 506 h 541"/>
              <a:gd name="T32" fmla="*/ 240 w 458"/>
              <a:gd name="T33" fmla="*/ 538 h 541"/>
              <a:gd name="T34" fmla="*/ 407 w 458"/>
              <a:gd name="T35" fmla="*/ 506 h 541"/>
              <a:gd name="T36" fmla="*/ 358 w 458"/>
              <a:gd name="T37" fmla="*/ 317 h 541"/>
              <a:gd name="T38" fmla="*/ 52 w 458"/>
              <a:gd name="T39" fmla="*/ 234 h 541"/>
              <a:gd name="T40" fmla="*/ 81 w 458"/>
              <a:gd name="T41" fmla="*/ 161 h 541"/>
              <a:gd name="T42" fmla="*/ 185 w 458"/>
              <a:gd name="T43" fmla="*/ 100 h 541"/>
              <a:gd name="T44" fmla="*/ 185 w 458"/>
              <a:gd name="T45" fmla="*/ 0 h 541"/>
              <a:gd name="T46" fmla="*/ 185 w 458"/>
              <a:gd name="T47" fmla="*/ 100 h 541"/>
              <a:gd name="T48" fmla="*/ 363 w 458"/>
              <a:gd name="T49" fmla="*/ 162 h 541"/>
              <a:gd name="T50" fmla="*/ 287 w 458"/>
              <a:gd name="T51" fmla="*/ 172 h 541"/>
              <a:gd name="T52" fmla="*/ 331 w 458"/>
              <a:gd name="T53" fmla="*/ 152 h 541"/>
              <a:gd name="T54" fmla="*/ 416 w 458"/>
              <a:gd name="T55" fmla="*/ 132 h 541"/>
              <a:gd name="T56" fmla="*/ 426 w 458"/>
              <a:gd name="T57" fmla="*/ 109 h 541"/>
              <a:gd name="T58" fmla="*/ 404 w 458"/>
              <a:gd name="T59" fmla="*/ 121 h 541"/>
              <a:gd name="T60" fmla="*/ 332 w 458"/>
              <a:gd name="T61" fmla="*/ 227 h 541"/>
              <a:gd name="T62" fmla="*/ 313 w 458"/>
              <a:gd name="T63" fmla="*/ 246 h 541"/>
              <a:gd name="T64" fmla="*/ 293 w 458"/>
              <a:gd name="T65" fmla="*/ 268 h 541"/>
              <a:gd name="T66" fmla="*/ 422 w 458"/>
              <a:gd name="T67" fmla="*/ 266 h 541"/>
              <a:gd name="T68" fmla="*/ 383 w 458"/>
              <a:gd name="T69" fmla="*/ 246 h 541"/>
              <a:gd name="T70" fmla="*/ 450 w 458"/>
              <a:gd name="T71" fmla="*/ 227 h 541"/>
              <a:gd name="T72" fmla="*/ 458 w 458"/>
              <a:gd name="T73" fmla="*/ 84 h 541"/>
              <a:gd name="T74" fmla="*/ 265 w 458"/>
              <a:gd name="T75" fmla="*/ 75 h 541"/>
              <a:gd name="T76" fmla="*/ 257 w 458"/>
              <a:gd name="T77" fmla="*/ 219 h 541"/>
              <a:gd name="T78" fmla="*/ 275 w 458"/>
              <a:gd name="T79" fmla="*/ 93 h 541"/>
              <a:gd name="T80" fmla="*/ 440 w 458"/>
              <a:gd name="T81" fmla="*/ 207 h 541"/>
              <a:gd name="T82" fmla="*/ 275 w 458"/>
              <a:gd name="T83" fmla="*/ 9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541">
                <a:moveTo>
                  <a:pt x="458" y="317"/>
                </a:moveTo>
                <a:cubicBezTo>
                  <a:pt x="458" y="276"/>
                  <a:pt x="458" y="276"/>
                  <a:pt x="458" y="276"/>
                </a:cubicBezTo>
                <a:cubicBezTo>
                  <a:pt x="261" y="276"/>
                  <a:pt x="261" y="276"/>
                  <a:pt x="261" y="276"/>
                </a:cubicBezTo>
                <a:cubicBezTo>
                  <a:pt x="262" y="272"/>
                  <a:pt x="262" y="267"/>
                  <a:pt x="259" y="263"/>
                </a:cubicBezTo>
                <a:cubicBezTo>
                  <a:pt x="201" y="142"/>
                  <a:pt x="201" y="142"/>
                  <a:pt x="201" y="142"/>
                </a:cubicBezTo>
                <a:cubicBezTo>
                  <a:pt x="196" y="129"/>
                  <a:pt x="186" y="120"/>
                  <a:pt x="176" y="115"/>
                </a:cubicBezTo>
                <a:cubicBezTo>
                  <a:pt x="135" y="99"/>
                  <a:pt x="135" y="99"/>
                  <a:pt x="135" y="99"/>
                </a:cubicBezTo>
                <a:cubicBezTo>
                  <a:pt x="114" y="90"/>
                  <a:pt x="100" y="95"/>
                  <a:pt x="86" y="102"/>
                </a:cubicBezTo>
                <a:cubicBezTo>
                  <a:pt x="15" y="137"/>
                  <a:pt x="15" y="137"/>
                  <a:pt x="15" y="137"/>
                </a:cubicBezTo>
                <a:cubicBezTo>
                  <a:pt x="14" y="138"/>
                  <a:pt x="14" y="138"/>
                  <a:pt x="14" y="138"/>
                </a:cubicBezTo>
                <a:cubicBezTo>
                  <a:pt x="6" y="142"/>
                  <a:pt x="0" y="151"/>
                  <a:pt x="1" y="161"/>
                </a:cubicBezTo>
                <a:cubicBezTo>
                  <a:pt x="11" y="250"/>
                  <a:pt x="11" y="250"/>
                  <a:pt x="11" y="250"/>
                </a:cubicBezTo>
                <a:cubicBezTo>
                  <a:pt x="12" y="261"/>
                  <a:pt x="21" y="269"/>
                  <a:pt x="32" y="269"/>
                </a:cubicBezTo>
                <a:cubicBezTo>
                  <a:pt x="37" y="269"/>
                  <a:pt x="40" y="267"/>
                  <a:pt x="44" y="265"/>
                </a:cubicBezTo>
                <a:cubicBezTo>
                  <a:pt x="45" y="514"/>
                  <a:pt x="45" y="514"/>
                  <a:pt x="45" y="514"/>
                </a:cubicBezTo>
                <a:cubicBezTo>
                  <a:pt x="45" y="527"/>
                  <a:pt x="56" y="538"/>
                  <a:pt x="69" y="538"/>
                </a:cubicBezTo>
                <a:cubicBezTo>
                  <a:pt x="83" y="539"/>
                  <a:pt x="95" y="528"/>
                  <a:pt x="95" y="514"/>
                </a:cubicBezTo>
                <a:cubicBezTo>
                  <a:pt x="102" y="353"/>
                  <a:pt x="102" y="353"/>
                  <a:pt x="102" y="353"/>
                </a:cubicBezTo>
                <a:cubicBezTo>
                  <a:pt x="117" y="388"/>
                  <a:pt x="117" y="388"/>
                  <a:pt x="117" y="388"/>
                </a:cubicBezTo>
                <a:cubicBezTo>
                  <a:pt x="102" y="510"/>
                  <a:pt x="102" y="510"/>
                  <a:pt x="102" y="510"/>
                </a:cubicBezTo>
                <a:cubicBezTo>
                  <a:pt x="100" y="523"/>
                  <a:pt x="109" y="536"/>
                  <a:pt x="123" y="538"/>
                </a:cubicBezTo>
                <a:cubicBezTo>
                  <a:pt x="136" y="541"/>
                  <a:pt x="149" y="531"/>
                  <a:pt x="152" y="517"/>
                </a:cubicBezTo>
                <a:cubicBezTo>
                  <a:pt x="174" y="388"/>
                  <a:pt x="174" y="388"/>
                  <a:pt x="174" y="388"/>
                </a:cubicBezTo>
                <a:cubicBezTo>
                  <a:pt x="175" y="384"/>
                  <a:pt x="175" y="379"/>
                  <a:pt x="173" y="375"/>
                </a:cubicBezTo>
                <a:cubicBezTo>
                  <a:pt x="172" y="373"/>
                  <a:pt x="172" y="373"/>
                  <a:pt x="172" y="373"/>
                </a:cubicBezTo>
                <a:cubicBezTo>
                  <a:pt x="132" y="269"/>
                  <a:pt x="132" y="269"/>
                  <a:pt x="132" y="269"/>
                </a:cubicBezTo>
                <a:cubicBezTo>
                  <a:pt x="173" y="197"/>
                  <a:pt x="173" y="197"/>
                  <a:pt x="173" y="197"/>
                </a:cubicBezTo>
                <a:cubicBezTo>
                  <a:pt x="219" y="276"/>
                  <a:pt x="219" y="276"/>
                  <a:pt x="219" y="276"/>
                </a:cubicBezTo>
                <a:cubicBezTo>
                  <a:pt x="189" y="276"/>
                  <a:pt x="189" y="276"/>
                  <a:pt x="189" y="276"/>
                </a:cubicBezTo>
                <a:cubicBezTo>
                  <a:pt x="189" y="317"/>
                  <a:pt x="189" y="317"/>
                  <a:pt x="189" y="317"/>
                </a:cubicBezTo>
                <a:cubicBezTo>
                  <a:pt x="290" y="317"/>
                  <a:pt x="290" y="317"/>
                  <a:pt x="290" y="317"/>
                </a:cubicBezTo>
                <a:cubicBezTo>
                  <a:pt x="290" y="506"/>
                  <a:pt x="290" y="506"/>
                  <a:pt x="290" y="506"/>
                </a:cubicBezTo>
                <a:cubicBezTo>
                  <a:pt x="240" y="506"/>
                  <a:pt x="240" y="506"/>
                  <a:pt x="240" y="506"/>
                </a:cubicBezTo>
                <a:cubicBezTo>
                  <a:pt x="240" y="538"/>
                  <a:pt x="240" y="538"/>
                  <a:pt x="240" y="538"/>
                </a:cubicBezTo>
                <a:cubicBezTo>
                  <a:pt x="407" y="538"/>
                  <a:pt x="407" y="538"/>
                  <a:pt x="407" y="538"/>
                </a:cubicBezTo>
                <a:cubicBezTo>
                  <a:pt x="407" y="506"/>
                  <a:pt x="407" y="506"/>
                  <a:pt x="407" y="506"/>
                </a:cubicBezTo>
                <a:cubicBezTo>
                  <a:pt x="358" y="506"/>
                  <a:pt x="358" y="506"/>
                  <a:pt x="358" y="506"/>
                </a:cubicBezTo>
                <a:cubicBezTo>
                  <a:pt x="358" y="317"/>
                  <a:pt x="358" y="317"/>
                  <a:pt x="358" y="317"/>
                </a:cubicBezTo>
                <a:lnTo>
                  <a:pt x="458" y="317"/>
                </a:lnTo>
                <a:close/>
                <a:moveTo>
                  <a:pt x="52" y="234"/>
                </a:moveTo>
                <a:cubicBezTo>
                  <a:pt x="51" y="175"/>
                  <a:pt x="51" y="175"/>
                  <a:pt x="51" y="175"/>
                </a:cubicBezTo>
                <a:cubicBezTo>
                  <a:pt x="81" y="161"/>
                  <a:pt x="81" y="161"/>
                  <a:pt x="81" y="161"/>
                </a:cubicBezTo>
                <a:lnTo>
                  <a:pt x="52" y="234"/>
                </a:lnTo>
                <a:close/>
                <a:moveTo>
                  <a:pt x="185" y="100"/>
                </a:moveTo>
                <a:cubicBezTo>
                  <a:pt x="212" y="100"/>
                  <a:pt x="234" y="78"/>
                  <a:pt x="234" y="50"/>
                </a:cubicBezTo>
                <a:cubicBezTo>
                  <a:pt x="234" y="23"/>
                  <a:pt x="212" y="0"/>
                  <a:pt x="185" y="0"/>
                </a:cubicBezTo>
                <a:cubicBezTo>
                  <a:pt x="157" y="0"/>
                  <a:pt x="135" y="23"/>
                  <a:pt x="135" y="50"/>
                </a:cubicBezTo>
                <a:cubicBezTo>
                  <a:pt x="135" y="78"/>
                  <a:pt x="157" y="100"/>
                  <a:pt x="185" y="100"/>
                </a:cubicBezTo>
                <a:close/>
                <a:moveTo>
                  <a:pt x="404" y="121"/>
                </a:moveTo>
                <a:cubicBezTo>
                  <a:pt x="363" y="162"/>
                  <a:pt x="363" y="162"/>
                  <a:pt x="363" y="162"/>
                </a:cubicBezTo>
                <a:cubicBezTo>
                  <a:pt x="331" y="129"/>
                  <a:pt x="331" y="129"/>
                  <a:pt x="331" y="129"/>
                </a:cubicBezTo>
                <a:cubicBezTo>
                  <a:pt x="287" y="172"/>
                  <a:pt x="287" y="172"/>
                  <a:pt x="287" y="172"/>
                </a:cubicBezTo>
                <a:cubicBezTo>
                  <a:pt x="287" y="195"/>
                  <a:pt x="287" y="195"/>
                  <a:pt x="287" y="195"/>
                </a:cubicBezTo>
                <a:cubicBezTo>
                  <a:pt x="331" y="152"/>
                  <a:pt x="331" y="152"/>
                  <a:pt x="331" y="152"/>
                </a:cubicBezTo>
                <a:cubicBezTo>
                  <a:pt x="363" y="184"/>
                  <a:pt x="363" y="184"/>
                  <a:pt x="363" y="184"/>
                </a:cubicBezTo>
                <a:cubicBezTo>
                  <a:pt x="416" y="132"/>
                  <a:pt x="416" y="132"/>
                  <a:pt x="416" y="132"/>
                </a:cubicBezTo>
                <a:cubicBezTo>
                  <a:pt x="426" y="142"/>
                  <a:pt x="426" y="142"/>
                  <a:pt x="426" y="142"/>
                </a:cubicBezTo>
                <a:cubicBezTo>
                  <a:pt x="426" y="109"/>
                  <a:pt x="426" y="109"/>
                  <a:pt x="426" y="109"/>
                </a:cubicBezTo>
                <a:cubicBezTo>
                  <a:pt x="392" y="109"/>
                  <a:pt x="392" y="109"/>
                  <a:pt x="392" y="109"/>
                </a:cubicBezTo>
                <a:lnTo>
                  <a:pt x="404" y="121"/>
                </a:lnTo>
                <a:close/>
                <a:moveTo>
                  <a:pt x="265" y="227"/>
                </a:moveTo>
                <a:cubicBezTo>
                  <a:pt x="332" y="227"/>
                  <a:pt x="332" y="227"/>
                  <a:pt x="332" y="227"/>
                </a:cubicBezTo>
                <a:cubicBezTo>
                  <a:pt x="332" y="246"/>
                  <a:pt x="332" y="246"/>
                  <a:pt x="332" y="246"/>
                </a:cubicBezTo>
                <a:cubicBezTo>
                  <a:pt x="313" y="246"/>
                  <a:pt x="313" y="246"/>
                  <a:pt x="313" y="246"/>
                </a:cubicBezTo>
                <a:cubicBezTo>
                  <a:pt x="302" y="246"/>
                  <a:pt x="293" y="255"/>
                  <a:pt x="293" y="266"/>
                </a:cubicBezTo>
                <a:cubicBezTo>
                  <a:pt x="293" y="268"/>
                  <a:pt x="293" y="268"/>
                  <a:pt x="293" y="268"/>
                </a:cubicBezTo>
                <a:cubicBezTo>
                  <a:pt x="422" y="268"/>
                  <a:pt x="422" y="268"/>
                  <a:pt x="422" y="268"/>
                </a:cubicBezTo>
                <a:cubicBezTo>
                  <a:pt x="422" y="266"/>
                  <a:pt x="422" y="266"/>
                  <a:pt x="422" y="266"/>
                </a:cubicBezTo>
                <a:cubicBezTo>
                  <a:pt x="422" y="255"/>
                  <a:pt x="413" y="246"/>
                  <a:pt x="402" y="246"/>
                </a:cubicBezTo>
                <a:cubicBezTo>
                  <a:pt x="383" y="246"/>
                  <a:pt x="383" y="246"/>
                  <a:pt x="383" y="246"/>
                </a:cubicBezTo>
                <a:cubicBezTo>
                  <a:pt x="383" y="227"/>
                  <a:pt x="383" y="227"/>
                  <a:pt x="383" y="227"/>
                </a:cubicBezTo>
                <a:cubicBezTo>
                  <a:pt x="450" y="227"/>
                  <a:pt x="450" y="227"/>
                  <a:pt x="450" y="227"/>
                </a:cubicBezTo>
                <a:cubicBezTo>
                  <a:pt x="454" y="227"/>
                  <a:pt x="458" y="223"/>
                  <a:pt x="458" y="219"/>
                </a:cubicBezTo>
                <a:cubicBezTo>
                  <a:pt x="458" y="84"/>
                  <a:pt x="458" y="84"/>
                  <a:pt x="458" y="84"/>
                </a:cubicBezTo>
                <a:cubicBezTo>
                  <a:pt x="458" y="79"/>
                  <a:pt x="454" y="75"/>
                  <a:pt x="450" y="75"/>
                </a:cubicBezTo>
                <a:cubicBezTo>
                  <a:pt x="265" y="75"/>
                  <a:pt x="265" y="75"/>
                  <a:pt x="265" y="75"/>
                </a:cubicBezTo>
                <a:cubicBezTo>
                  <a:pt x="261" y="75"/>
                  <a:pt x="257" y="79"/>
                  <a:pt x="257" y="84"/>
                </a:cubicBezTo>
                <a:cubicBezTo>
                  <a:pt x="257" y="219"/>
                  <a:pt x="257" y="219"/>
                  <a:pt x="257" y="219"/>
                </a:cubicBezTo>
                <a:cubicBezTo>
                  <a:pt x="257" y="223"/>
                  <a:pt x="261" y="227"/>
                  <a:pt x="265" y="227"/>
                </a:cubicBezTo>
                <a:close/>
                <a:moveTo>
                  <a:pt x="275" y="93"/>
                </a:moveTo>
                <a:cubicBezTo>
                  <a:pt x="440" y="93"/>
                  <a:pt x="440" y="93"/>
                  <a:pt x="440" y="93"/>
                </a:cubicBezTo>
                <a:cubicBezTo>
                  <a:pt x="440" y="207"/>
                  <a:pt x="440" y="207"/>
                  <a:pt x="440" y="207"/>
                </a:cubicBezTo>
                <a:cubicBezTo>
                  <a:pt x="275" y="207"/>
                  <a:pt x="275" y="207"/>
                  <a:pt x="275" y="207"/>
                </a:cubicBezTo>
                <a:lnTo>
                  <a:pt x="275" y="93"/>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11" name="Rectangle 3"/>
          <p:cNvSpPr>
            <a:spLocks noChangeArrowheads="1"/>
          </p:cNvSpPr>
          <p:nvPr/>
        </p:nvSpPr>
        <p:spPr bwMode="gray">
          <a:xfrm>
            <a:off x="303245" y="2310468"/>
            <a:ext cx="2023110" cy="1875095"/>
          </a:xfrm>
          <a:prstGeom prst="rect">
            <a:avLst/>
          </a:prstGeom>
          <a:noFill/>
          <a:ln w="9525" algn="ctr">
            <a:noFill/>
            <a:miter lim="800000"/>
            <a:headEnd/>
            <a:tailEnd/>
          </a:ln>
        </p:spPr>
        <p:txBody>
          <a:bodyPr lIns="0" tIns="0" rIns="0" bIns="0"/>
          <a:lstStyle/>
          <a:p>
            <a:pPr marL="89297" lvl="1" indent="-88106">
              <a:buClr>
                <a:srgbClr val="4066B2"/>
              </a:buClr>
              <a:buFont typeface="Arial" pitchFamily="34" charset="0"/>
              <a:buChar char="•"/>
              <a:defRPr/>
            </a:pPr>
            <a:endParaRPr lang="en-US" sz="900" dirty="0">
              <a:solidFill>
                <a:srgbClr val="002776"/>
              </a:solidFill>
            </a:endParaRPr>
          </a:p>
        </p:txBody>
      </p:sp>
      <p:sp>
        <p:nvSpPr>
          <p:cNvPr id="16" name="Rectangle 3"/>
          <p:cNvSpPr>
            <a:spLocks noChangeArrowheads="1"/>
          </p:cNvSpPr>
          <p:nvPr/>
        </p:nvSpPr>
        <p:spPr bwMode="gray">
          <a:xfrm>
            <a:off x="710763"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 Massive change in     Health </a:t>
            </a:r>
            <a:endParaRPr lang="en-US" sz="1400" dirty="0" smtClean="0"/>
          </a:p>
          <a:p>
            <a:pPr marL="171446" lvl="1">
              <a:lnSpc>
                <a:spcPts val="975"/>
              </a:lnSpc>
              <a:spcBef>
                <a:spcPct val="40000"/>
              </a:spcBef>
              <a:buClr>
                <a:srgbClr val="000000"/>
              </a:buClr>
              <a:defRPr/>
            </a:pPr>
            <a:endParaRPr lang="en-US" sz="1400" dirty="0" smtClean="0"/>
          </a:p>
          <a:p>
            <a:pPr marL="300034" lvl="1" indent="-128588">
              <a:lnSpc>
                <a:spcPts val="975"/>
              </a:lnSpc>
              <a:spcBef>
                <a:spcPct val="40000"/>
              </a:spcBef>
              <a:buClr>
                <a:srgbClr val="000000"/>
              </a:buClr>
              <a:buFont typeface="Wingdings" panose="05000000000000000000" pitchFamily="2" charset="2"/>
              <a:buChar char="q"/>
              <a:defRPr/>
            </a:pPr>
            <a:r>
              <a:rPr lang="en-US" sz="1400" dirty="0" smtClean="0"/>
              <a:t> Careless shown by Family Member in Regular checkup</a:t>
            </a:r>
            <a:endParaRPr lang="en-US" sz="1400" dirty="0"/>
          </a:p>
          <a:p>
            <a:pPr marL="171446" lvl="1">
              <a:lnSpc>
                <a:spcPts val="975"/>
              </a:lnSpc>
              <a:spcBef>
                <a:spcPct val="40000"/>
              </a:spcBef>
              <a:buClr>
                <a:srgbClr val="000000"/>
              </a:buClr>
              <a:defRPr/>
            </a:pPr>
            <a:endParaRPr lang="en-US" sz="900" dirty="0" smtClean="0"/>
          </a:p>
        </p:txBody>
      </p:sp>
      <p:sp>
        <p:nvSpPr>
          <p:cNvPr id="17" name="Rectangle 2"/>
          <p:cNvSpPr>
            <a:spLocks noChangeArrowheads="1"/>
          </p:cNvSpPr>
          <p:nvPr/>
        </p:nvSpPr>
        <p:spPr bwMode="auto">
          <a:xfrm>
            <a:off x="255814" y="778583"/>
            <a:ext cx="8525426" cy="529796"/>
          </a:xfrm>
          <a:prstGeom prst="rect">
            <a:avLst/>
          </a:prstGeom>
          <a:noFill/>
          <a:ln>
            <a:noFill/>
          </a:ln>
          <a:extLst/>
        </p:spPr>
        <p:txBody>
          <a:bodyPr lIns="68580" tIns="34290" rIns="0" bIns="34290"/>
          <a:lstStyle/>
          <a:p>
            <a:pPr defTabSz="685634" fontAlgn="t"/>
            <a:endParaRPr lang="en-US" sz="900" i="1" dirty="0">
              <a:solidFill>
                <a:schemeClr val="accent1">
                  <a:lumMod val="75000"/>
                </a:schemeClr>
              </a:solidFill>
            </a:endParaRPr>
          </a:p>
        </p:txBody>
      </p:sp>
      <p:sp>
        <p:nvSpPr>
          <p:cNvPr id="18" name="Rectangle 3"/>
          <p:cNvSpPr>
            <a:spLocks noChangeArrowheads="1"/>
          </p:cNvSpPr>
          <p:nvPr/>
        </p:nvSpPr>
        <p:spPr bwMode="auto">
          <a:xfrm>
            <a:off x="311285" y="489877"/>
            <a:ext cx="8536328" cy="224481"/>
          </a:xfrm>
          <a:prstGeom prst="rect">
            <a:avLst/>
          </a:prstGeom>
          <a:solidFill>
            <a:srgbClr val="002776"/>
          </a:solidFill>
          <a:ln w="3175" cap="rnd" algn="ctr">
            <a:noFill/>
            <a:miter lim="800000"/>
            <a:headEnd/>
            <a:tailEnd/>
          </a:ln>
          <a:extLst/>
        </p:spPr>
        <p:txBody>
          <a:bodyPr lIns="34290" anchor="ctr" anchorCtr="0"/>
          <a:lstStyle/>
          <a:p>
            <a:pPr eaLnBrk="0" hangingPunct="0">
              <a:lnSpc>
                <a:spcPct val="106000"/>
              </a:lnSpc>
            </a:pPr>
            <a:r>
              <a:rPr lang="en-US" sz="1050" b="1" kern="0" dirty="0">
                <a:solidFill>
                  <a:srgbClr val="FFFFFF"/>
                </a:solidFill>
              </a:rPr>
              <a:t>Business Problem</a:t>
            </a:r>
          </a:p>
        </p:txBody>
      </p:sp>
      <p:sp>
        <p:nvSpPr>
          <p:cNvPr id="24" name="AutoShape 107"/>
          <p:cNvSpPr>
            <a:spLocks noChangeArrowheads="1"/>
          </p:cNvSpPr>
          <p:nvPr/>
        </p:nvSpPr>
        <p:spPr bwMode="auto">
          <a:xfrm>
            <a:off x="6291598" y="1588294"/>
            <a:ext cx="2193179" cy="340145"/>
          </a:xfrm>
          <a:prstGeom prst="chevron">
            <a:avLst>
              <a:gd name="adj" fmla="val 34751"/>
            </a:avLst>
          </a:prstGeom>
          <a:solidFill>
            <a:schemeClr val="accent2"/>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Impact</a:t>
            </a:r>
          </a:p>
        </p:txBody>
      </p:sp>
      <p:sp>
        <p:nvSpPr>
          <p:cNvPr id="25" name="Freeform 15"/>
          <p:cNvSpPr>
            <a:spLocks noChangeAspect="1" noEditPoints="1"/>
          </p:cNvSpPr>
          <p:nvPr/>
        </p:nvSpPr>
        <p:spPr bwMode="auto">
          <a:xfrm>
            <a:off x="6587755" y="1605061"/>
            <a:ext cx="260819" cy="323378"/>
          </a:xfrm>
          <a:custGeom>
            <a:avLst/>
            <a:gdLst>
              <a:gd name="T0" fmla="*/ 304 w 428"/>
              <a:gd name="T1" fmla="*/ 36 h 529"/>
              <a:gd name="T2" fmla="*/ 221 w 428"/>
              <a:gd name="T3" fmla="*/ 61 h 529"/>
              <a:gd name="T4" fmla="*/ 181 w 428"/>
              <a:gd name="T5" fmla="*/ 324 h 529"/>
              <a:gd name="T6" fmla="*/ 193 w 428"/>
              <a:gd name="T7" fmla="*/ 305 h 529"/>
              <a:gd name="T8" fmla="*/ 271 w 428"/>
              <a:gd name="T9" fmla="*/ 318 h 529"/>
              <a:gd name="T10" fmla="*/ 324 w 428"/>
              <a:gd name="T11" fmla="*/ 287 h 529"/>
              <a:gd name="T12" fmla="*/ 307 w 428"/>
              <a:gd name="T13" fmla="*/ 271 h 529"/>
              <a:gd name="T14" fmla="*/ 271 w 428"/>
              <a:gd name="T15" fmla="*/ 165 h 529"/>
              <a:gd name="T16" fmla="*/ 311 w 428"/>
              <a:gd name="T17" fmla="*/ 178 h 529"/>
              <a:gd name="T18" fmla="*/ 397 w 428"/>
              <a:gd name="T19" fmla="*/ 124 h 529"/>
              <a:gd name="T20" fmla="*/ 372 w 428"/>
              <a:gd name="T21" fmla="*/ 90 h 529"/>
              <a:gd name="T22" fmla="*/ 268 w 428"/>
              <a:gd name="T23" fmla="*/ 109 h 529"/>
              <a:gd name="T24" fmla="*/ 245 w 428"/>
              <a:gd name="T25" fmla="*/ 156 h 529"/>
              <a:gd name="T26" fmla="*/ 243 w 428"/>
              <a:gd name="T27" fmla="*/ 156 h 529"/>
              <a:gd name="T28" fmla="*/ 254 w 428"/>
              <a:gd name="T29" fmla="*/ 113 h 529"/>
              <a:gd name="T30" fmla="*/ 240 w 428"/>
              <a:gd name="T31" fmla="*/ 101 h 529"/>
              <a:gd name="T32" fmla="*/ 232 w 428"/>
              <a:gd name="T33" fmla="*/ 109 h 529"/>
              <a:gd name="T34" fmla="*/ 227 w 428"/>
              <a:gd name="T35" fmla="*/ 144 h 529"/>
              <a:gd name="T36" fmla="*/ 222 w 428"/>
              <a:gd name="T37" fmla="*/ 137 h 529"/>
              <a:gd name="T38" fmla="*/ 203 w 428"/>
              <a:gd name="T39" fmla="*/ 92 h 529"/>
              <a:gd name="T40" fmla="*/ 122 w 428"/>
              <a:gd name="T41" fmla="*/ 85 h 529"/>
              <a:gd name="T42" fmla="*/ 55 w 428"/>
              <a:gd name="T43" fmla="*/ 129 h 529"/>
              <a:gd name="T44" fmla="*/ 78 w 428"/>
              <a:gd name="T45" fmla="*/ 163 h 529"/>
              <a:gd name="T46" fmla="*/ 171 w 428"/>
              <a:gd name="T47" fmla="*/ 140 h 529"/>
              <a:gd name="T48" fmla="*/ 128 w 428"/>
              <a:gd name="T49" fmla="*/ 300 h 529"/>
              <a:gd name="T50" fmla="*/ 115 w 428"/>
              <a:gd name="T51" fmla="*/ 324 h 529"/>
              <a:gd name="T52" fmla="*/ 83 w 428"/>
              <a:gd name="T53" fmla="*/ 314 h 529"/>
              <a:gd name="T54" fmla="*/ 35 w 428"/>
              <a:gd name="T55" fmla="*/ 298 h 529"/>
              <a:gd name="T56" fmla="*/ 18 w 428"/>
              <a:gd name="T57" fmla="*/ 344 h 529"/>
              <a:gd name="T58" fmla="*/ 83 w 428"/>
              <a:gd name="T59" fmla="*/ 370 h 529"/>
              <a:gd name="T60" fmla="*/ 120 w 428"/>
              <a:gd name="T61" fmla="*/ 384 h 529"/>
              <a:gd name="T62" fmla="*/ 121 w 428"/>
              <a:gd name="T63" fmla="*/ 385 h 529"/>
              <a:gd name="T64" fmla="*/ 126 w 428"/>
              <a:gd name="T65" fmla="*/ 386 h 529"/>
              <a:gd name="T66" fmla="*/ 130 w 428"/>
              <a:gd name="T67" fmla="*/ 386 h 529"/>
              <a:gd name="T68" fmla="*/ 135 w 428"/>
              <a:gd name="T69" fmla="*/ 386 h 529"/>
              <a:gd name="T70" fmla="*/ 139 w 428"/>
              <a:gd name="T71" fmla="*/ 385 h 529"/>
              <a:gd name="T72" fmla="*/ 143 w 428"/>
              <a:gd name="T73" fmla="*/ 383 h 529"/>
              <a:gd name="T74" fmla="*/ 147 w 428"/>
              <a:gd name="T75" fmla="*/ 380 h 529"/>
              <a:gd name="T76" fmla="*/ 149 w 428"/>
              <a:gd name="T77" fmla="*/ 378 h 529"/>
              <a:gd name="T78" fmla="*/ 153 w 428"/>
              <a:gd name="T79" fmla="*/ 373 h 529"/>
              <a:gd name="T80" fmla="*/ 154 w 428"/>
              <a:gd name="T81" fmla="*/ 372 h 529"/>
              <a:gd name="T82" fmla="*/ 160 w 428"/>
              <a:gd name="T83" fmla="*/ 361 h 529"/>
              <a:gd name="T84" fmla="*/ 181 w 428"/>
              <a:gd name="T85" fmla="*/ 324 h 529"/>
              <a:gd name="T86" fmla="*/ 166 w 428"/>
              <a:gd name="T87" fmla="*/ 375 h 529"/>
              <a:gd name="T88" fmla="*/ 175 w 428"/>
              <a:gd name="T89" fmla="*/ 529 h 529"/>
              <a:gd name="T90" fmla="*/ 194 w 428"/>
              <a:gd name="T91" fmla="*/ 375 h 529"/>
              <a:gd name="T92" fmla="*/ 393 w 428"/>
              <a:gd name="T93" fmla="*/ 529 h 529"/>
              <a:gd name="T94" fmla="*/ 412 w 428"/>
              <a:gd name="T95" fmla="*/ 375 h 529"/>
              <a:gd name="T96" fmla="*/ 428 w 428"/>
              <a:gd name="T97" fmla="*/ 330 h 529"/>
              <a:gd name="T98" fmla="*/ 361 w 428"/>
              <a:gd name="T99" fmla="*/ 387 h 529"/>
              <a:gd name="T100" fmla="*/ 316 w 428"/>
              <a:gd name="T101" fmla="*/ 407 h 529"/>
              <a:gd name="T102" fmla="*/ 362 w 428"/>
              <a:gd name="T103" fmla="*/ 38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8" h="529">
                <a:moveTo>
                  <a:pt x="276" y="90"/>
                </a:moveTo>
                <a:cubicBezTo>
                  <a:pt x="298" y="83"/>
                  <a:pt x="311" y="59"/>
                  <a:pt x="304" y="36"/>
                </a:cubicBezTo>
                <a:cubicBezTo>
                  <a:pt x="297" y="13"/>
                  <a:pt x="273" y="0"/>
                  <a:pt x="250" y="7"/>
                </a:cubicBezTo>
                <a:cubicBezTo>
                  <a:pt x="227" y="14"/>
                  <a:pt x="214" y="38"/>
                  <a:pt x="221" y="61"/>
                </a:cubicBezTo>
                <a:cubicBezTo>
                  <a:pt x="229" y="84"/>
                  <a:pt x="253" y="97"/>
                  <a:pt x="276" y="90"/>
                </a:cubicBezTo>
                <a:close/>
                <a:moveTo>
                  <a:pt x="181" y="324"/>
                </a:moveTo>
                <a:cubicBezTo>
                  <a:pt x="185" y="318"/>
                  <a:pt x="185" y="318"/>
                  <a:pt x="185" y="318"/>
                </a:cubicBezTo>
                <a:cubicBezTo>
                  <a:pt x="193" y="305"/>
                  <a:pt x="193" y="305"/>
                  <a:pt x="193" y="305"/>
                </a:cubicBezTo>
                <a:cubicBezTo>
                  <a:pt x="197" y="298"/>
                  <a:pt x="197" y="298"/>
                  <a:pt x="197" y="298"/>
                </a:cubicBezTo>
                <a:cubicBezTo>
                  <a:pt x="271" y="318"/>
                  <a:pt x="271" y="318"/>
                  <a:pt x="271" y="318"/>
                </a:cubicBezTo>
                <a:cubicBezTo>
                  <a:pt x="336" y="318"/>
                  <a:pt x="336" y="318"/>
                  <a:pt x="336" y="318"/>
                </a:cubicBezTo>
                <a:cubicBezTo>
                  <a:pt x="324" y="287"/>
                  <a:pt x="324" y="287"/>
                  <a:pt x="324" y="287"/>
                </a:cubicBezTo>
                <a:cubicBezTo>
                  <a:pt x="322" y="280"/>
                  <a:pt x="316" y="274"/>
                  <a:pt x="308" y="272"/>
                </a:cubicBezTo>
                <a:cubicBezTo>
                  <a:pt x="307" y="271"/>
                  <a:pt x="307" y="271"/>
                  <a:pt x="307" y="271"/>
                </a:cubicBezTo>
                <a:cubicBezTo>
                  <a:pt x="243" y="250"/>
                  <a:pt x="243" y="250"/>
                  <a:pt x="243" y="250"/>
                </a:cubicBezTo>
                <a:cubicBezTo>
                  <a:pt x="271" y="165"/>
                  <a:pt x="271" y="165"/>
                  <a:pt x="271" y="165"/>
                </a:cubicBezTo>
                <a:cubicBezTo>
                  <a:pt x="309" y="177"/>
                  <a:pt x="309" y="177"/>
                  <a:pt x="309" y="177"/>
                </a:cubicBezTo>
                <a:cubicBezTo>
                  <a:pt x="311" y="178"/>
                  <a:pt x="311" y="178"/>
                  <a:pt x="311" y="178"/>
                </a:cubicBezTo>
                <a:cubicBezTo>
                  <a:pt x="317" y="180"/>
                  <a:pt x="325" y="179"/>
                  <a:pt x="331" y="175"/>
                </a:cubicBezTo>
                <a:cubicBezTo>
                  <a:pt x="397" y="124"/>
                  <a:pt x="397" y="124"/>
                  <a:pt x="397" y="124"/>
                </a:cubicBezTo>
                <a:cubicBezTo>
                  <a:pt x="405" y="118"/>
                  <a:pt x="408" y="105"/>
                  <a:pt x="402" y="96"/>
                </a:cubicBezTo>
                <a:cubicBezTo>
                  <a:pt x="395" y="86"/>
                  <a:pt x="382" y="84"/>
                  <a:pt x="372" y="90"/>
                </a:cubicBezTo>
                <a:cubicBezTo>
                  <a:pt x="315" y="128"/>
                  <a:pt x="315" y="128"/>
                  <a:pt x="315" y="128"/>
                </a:cubicBezTo>
                <a:cubicBezTo>
                  <a:pt x="268" y="109"/>
                  <a:pt x="268" y="109"/>
                  <a:pt x="268" y="109"/>
                </a:cubicBezTo>
                <a:cubicBezTo>
                  <a:pt x="263" y="119"/>
                  <a:pt x="263" y="119"/>
                  <a:pt x="263" y="119"/>
                </a:cubicBezTo>
                <a:cubicBezTo>
                  <a:pt x="245" y="156"/>
                  <a:pt x="245" y="156"/>
                  <a:pt x="245" y="156"/>
                </a:cubicBezTo>
                <a:cubicBezTo>
                  <a:pt x="243" y="162"/>
                  <a:pt x="243" y="162"/>
                  <a:pt x="243" y="162"/>
                </a:cubicBezTo>
                <a:cubicBezTo>
                  <a:pt x="243" y="156"/>
                  <a:pt x="243" y="156"/>
                  <a:pt x="243" y="156"/>
                </a:cubicBezTo>
                <a:cubicBezTo>
                  <a:pt x="245" y="120"/>
                  <a:pt x="245" y="120"/>
                  <a:pt x="245" y="120"/>
                </a:cubicBezTo>
                <a:cubicBezTo>
                  <a:pt x="254" y="113"/>
                  <a:pt x="254" y="113"/>
                  <a:pt x="254" y="113"/>
                </a:cubicBezTo>
                <a:cubicBezTo>
                  <a:pt x="250" y="104"/>
                  <a:pt x="250" y="104"/>
                  <a:pt x="250" y="104"/>
                </a:cubicBezTo>
                <a:cubicBezTo>
                  <a:pt x="240" y="101"/>
                  <a:pt x="240" y="101"/>
                  <a:pt x="240" y="101"/>
                </a:cubicBezTo>
                <a:cubicBezTo>
                  <a:pt x="232" y="108"/>
                  <a:pt x="232" y="108"/>
                  <a:pt x="232" y="108"/>
                </a:cubicBezTo>
                <a:cubicBezTo>
                  <a:pt x="232" y="109"/>
                  <a:pt x="232" y="109"/>
                  <a:pt x="232" y="109"/>
                </a:cubicBezTo>
                <a:cubicBezTo>
                  <a:pt x="236" y="118"/>
                  <a:pt x="236" y="118"/>
                  <a:pt x="236" y="118"/>
                </a:cubicBezTo>
                <a:cubicBezTo>
                  <a:pt x="227" y="144"/>
                  <a:pt x="227" y="144"/>
                  <a:pt x="227" y="144"/>
                </a:cubicBezTo>
                <a:cubicBezTo>
                  <a:pt x="222" y="158"/>
                  <a:pt x="222" y="158"/>
                  <a:pt x="222" y="158"/>
                </a:cubicBezTo>
                <a:cubicBezTo>
                  <a:pt x="222" y="137"/>
                  <a:pt x="222" y="137"/>
                  <a:pt x="222" y="137"/>
                </a:cubicBezTo>
                <a:cubicBezTo>
                  <a:pt x="220" y="97"/>
                  <a:pt x="220" y="97"/>
                  <a:pt x="220" y="97"/>
                </a:cubicBezTo>
                <a:cubicBezTo>
                  <a:pt x="220" y="97"/>
                  <a:pt x="213" y="93"/>
                  <a:pt x="203" y="92"/>
                </a:cubicBezTo>
                <a:cubicBezTo>
                  <a:pt x="192" y="91"/>
                  <a:pt x="124" y="85"/>
                  <a:pt x="124" y="85"/>
                </a:cubicBezTo>
                <a:cubicBezTo>
                  <a:pt x="122" y="85"/>
                  <a:pt x="122" y="85"/>
                  <a:pt x="122" y="85"/>
                </a:cubicBezTo>
                <a:cubicBezTo>
                  <a:pt x="117" y="85"/>
                  <a:pt x="112" y="86"/>
                  <a:pt x="108" y="89"/>
                </a:cubicBezTo>
                <a:cubicBezTo>
                  <a:pt x="55" y="129"/>
                  <a:pt x="55" y="129"/>
                  <a:pt x="55" y="129"/>
                </a:cubicBezTo>
                <a:cubicBezTo>
                  <a:pt x="46" y="135"/>
                  <a:pt x="43" y="147"/>
                  <a:pt x="49" y="157"/>
                </a:cubicBezTo>
                <a:cubicBezTo>
                  <a:pt x="56" y="167"/>
                  <a:pt x="69" y="170"/>
                  <a:pt x="78" y="163"/>
                </a:cubicBezTo>
                <a:cubicBezTo>
                  <a:pt x="126" y="134"/>
                  <a:pt x="126" y="134"/>
                  <a:pt x="126" y="134"/>
                </a:cubicBezTo>
                <a:cubicBezTo>
                  <a:pt x="171" y="140"/>
                  <a:pt x="171" y="140"/>
                  <a:pt x="171" y="140"/>
                </a:cubicBezTo>
                <a:cubicBezTo>
                  <a:pt x="150" y="257"/>
                  <a:pt x="150" y="257"/>
                  <a:pt x="150" y="257"/>
                </a:cubicBezTo>
                <a:cubicBezTo>
                  <a:pt x="128" y="300"/>
                  <a:pt x="128" y="300"/>
                  <a:pt x="128" y="300"/>
                </a:cubicBezTo>
                <a:cubicBezTo>
                  <a:pt x="128" y="300"/>
                  <a:pt x="128" y="300"/>
                  <a:pt x="128" y="300"/>
                </a:cubicBezTo>
                <a:cubicBezTo>
                  <a:pt x="115" y="324"/>
                  <a:pt x="115" y="324"/>
                  <a:pt x="115" y="324"/>
                </a:cubicBezTo>
                <a:cubicBezTo>
                  <a:pt x="115" y="324"/>
                  <a:pt x="115" y="324"/>
                  <a:pt x="115" y="324"/>
                </a:cubicBezTo>
                <a:cubicBezTo>
                  <a:pt x="83" y="314"/>
                  <a:pt x="83" y="314"/>
                  <a:pt x="83" y="314"/>
                </a:cubicBezTo>
                <a:cubicBezTo>
                  <a:pt x="83" y="314"/>
                  <a:pt x="83" y="314"/>
                  <a:pt x="83" y="314"/>
                </a:cubicBezTo>
                <a:cubicBezTo>
                  <a:pt x="35" y="298"/>
                  <a:pt x="35" y="298"/>
                  <a:pt x="35" y="298"/>
                </a:cubicBezTo>
                <a:cubicBezTo>
                  <a:pt x="23" y="294"/>
                  <a:pt x="9" y="301"/>
                  <a:pt x="4" y="313"/>
                </a:cubicBezTo>
                <a:cubicBezTo>
                  <a:pt x="0" y="325"/>
                  <a:pt x="6" y="340"/>
                  <a:pt x="18" y="344"/>
                </a:cubicBezTo>
                <a:cubicBezTo>
                  <a:pt x="83" y="370"/>
                  <a:pt x="83" y="370"/>
                  <a:pt x="83" y="370"/>
                </a:cubicBezTo>
                <a:cubicBezTo>
                  <a:pt x="83" y="370"/>
                  <a:pt x="83" y="370"/>
                  <a:pt x="83" y="370"/>
                </a:cubicBezTo>
                <a:cubicBezTo>
                  <a:pt x="119" y="384"/>
                  <a:pt x="119" y="384"/>
                  <a:pt x="119" y="384"/>
                </a:cubicBezTo>
                <a:cubicBezTo>
                  <a:pt x="120" y="384"/>
                  <a:pt x="120" y="384"/>
                  <a:pt x="120" y="384"/>
                </a:cubicBezTo>
                <a:cubicBezTo>
                  <a:pt x="120" y="384"/>
                  <a:pt x="120" y="384"/>
                  <a:pt x="120" y="384"/>
                </a:cubicBezTo>
                <a:cubicBezTo>
                  <a:pt x="120" y="385"/>
                  <a:pt x="120" y="385"/>
                  <a:pt x="121" y="385"/>
                </a:cubicBezTo>
                <a:cubicBezTo>
                  <a:pt x="122" y="385"/>
                  <a:pt x="123" y="386"/>
                  <a:pt x="125" y="386"/>
                </a:cubicBezTo>
                <a:cubicBezTo>
                  <a:pt x="125" y="386"/>
                  <a:pt x="125" y="386"/>
                  <a:pt x="126" y="386"/>
                </a:cubicBezTo>
                <a:cubicBezTo>
                  <a:pt x="127" y="386"/>
                  <a:pt x="128" y="386"/>
                  <a:pt x="130" y="386"/>
                </a:cubicBezTo>
                <a:cubicBezTo>
                  <a:pt x="130" y="386"/>
                  <a:pt x="130" y="386"/>
                  <a:pt x="130" y="386"/>
                </a:cubicBezTo>
                <a:cubicBezTo>
                  <a:pt x="131" y="386"/>
                  <a:pt x="132" y="386"/>
                  <a:pt x="133" y="386"/>
                </a:cubicBezTo>
                <a:cubicBezTo>
                  <a:pt x="134" y="386"/>
                  <a:pt x="134" y="386"/>
                  <a:pt x="135" y="386"/>
                </a:cubicBezTo>
                <a:cubicBezTo>
                  <a:pt x="136" y="386"/>
                  <a:pt x="137" y="385"/>
                  <a:pt x="137" y="385"/>
                </a:cubicBezTo>
                <a:cubicBezTo>
                  <a:pt x="138" y="385"/>
                  <a:pt x="139" y="385"/>
                  <a:pt x="139" y="385"/>
                </a:cubicBezTo>
                <a:cubicBezTo>
                  <a:pt x="140" y="384"/>
                  <a:pt x="141" y="384"/>
                  <a:pt x="142" y="383"/>
                </a:cubicBezTo>
                <a:cubicBezTo>
                  <a:pt x="142" y="383"/>
                  <a:pt x="143" y="383"/>
                  <a:pt x="143" y="383"/>
                </a:cubicBezTo>
                <a:cubicBezTo>
                  <a:pt x="144" y="382"/>
                  <a:pt x="145" y="381"/>
                  <a:pt x="146" y="381"/>
                </a:cubicBezTo>
                <a:cubicBezTo>
                  <a:pt x="147" y="380"/>
                  <a:pt x="147" y="380"/>
                  <a:pt x="147" y="380"/>
                </a:cubicBezTo>
                <a:cubicBezTo>
                  <a:pt x="148" y="379"/>
                  <a:pt x="148" y="379"/>
                  <a:pt x="148" y="379"/>
                </a:cubicBezTo>
                <a:cubicBezTo>
                  <a:pt x="149" y="379"/>
                  <a:pt x="149" y="378"/>
                  <a:pt x="149" y="378"/>
                </a:cubicBezTo>
                <a:cubicBezTo>
                  <a:pt x="150" y="377"/>
                  <a:pt x="150" y="377"/>
                  <a:pt x="150" y="376"/>
                </a:cubicBezTo>
                <a:cubicBezTo>
                  <a:pt x="151" y="375"/>
                  <a:pt x="152" y="374"/>
                  <a:pt x="153" y="373"/>
                </a:cubicBezTo>
                <a:cubicBezTo>
                  <a:pt x="153" y="373"/>
                  <a:pt x="153" y="373"/>
                  <a:pt x="153" y="373"/>
                </a:cubicBezTo>
                <a:cubicBezTo>
                  <a:pt x="154" y="372"/>
                  <a:pt x="154" y="372"/>
                  <a:pt x="154" y="372"/>
                </a:cubicBezTo>
                <a:cubicBezTo>
                  <a:pt x="154" y="371"/>
                  <a:pt x="154" y="371"/>
                  <a:pt x="154" y="371"/>
                </a:cubicBezTo>
                <a:cubicBezTo>
                  <a:pt x="160" y="361"/>
                  <a:pt x="160" y="361"/>
                  <a:pt x="160" y="361"/>
                </a:cubicBezTo>
                <a:cubicBezTo>
                  <a:pt x="178" y="330"/>
                  <a:pt x="178" y="330"/>
                  <a:pt x="178" y="330"/>
                </a:cubicBezTo>
                <a:lnTo>
                  <a:pt x="181" y="324"/>
                </a:lnTo>
                <a:close/>
                <a:moveTo>
                  <a:pt x="192" y="330"/>
                </a:moveTo>
                <a:cubicBezTo>
                  <a:pt x="166" y="375"/>
                  <a:pt x="166" y="375"/>
                  <a:pt x="166" y="375"/>
                </a:cubicBezTo>
                <a:cubicBezTo>
                  <a:pt x="175" y="375"/>
                  <a:pt x="175" y="375"/>
                  <a:pt x="175" y="375"/>
                </a:cubicBezTo>
                <a:cubicBezTo>
                  <a:pt x="175" y="529"/>
                  <a:pt x="175" y="529"/>
                  <a:pt x="175" y="529"/>
                </a:cubicBezTo>
                <a:cubicBezTo>
                  <a:pt x="194" y="529"/>
                  <a:pt x="194" y="529"/>
                  <a:pt x="194" y="529"/>
                </a:cubicBezTo>
                <a:cubicBezTo>
                  <a:pt x="194" y="375"/>
                  <a:pt x="194" y="375"/>
                  <a:pt x="194" y="375"/>
                </a:cubicBezTo>
                <a:cubicBezTo>
                  <a:pt x="393" y="375"/>
                  <a:pt x="393" y="375"/>
                  <a:pt x="393" y="375"/>
                </a:cubicBezTo>
                <a:cubicBezTo>
                  <a:pt x="393" y="529"/>
                  <a:pt x="393" y="529"/>
                  <a:pt x="393" y="529"/>
                </a:cubicBezTo>
                <a:cubicBezTo>
                  <a:pt x="412" y="529"/>
                  <a:pt x="412" y="529"/>
                  <a:pt x="412" y="529"/>
                </a:cubicBezTo>
                <a:cubicBezTo>
                  <a:pt x="412" y="375"/>
                  <a:pt x="412" y="375"/>
                  <a:pt x="412" y="375"/>
                </a:cubicBezTo>
                <a:cubicBezTo>
                  <a:pt x="428" y="375"/>
                  <a:pt x="428" y="375"/>
                  <a:pt x="428" y="375"/>
                </a:cubicBezTo>
                <a:cubicBezTo>
                  <a:pt x="428" y="330"/>
                  <a:pt x="428" y="330"/>
                  <a:pt x="428" y="330"/>
                </a:cubicBezTo>
                <a:lnTo>
                  <a:pt x="192" y="330"/>
                </a:lnTo>
                <a:close/>
                <a:moveTo>
                  <a:pt x="361" y="387"/>
                </a:moveTo>
                <a:cubicBezTo>
                  <a:pt x="308" y="387"/>
                  <a:pt x="308" y="387"/>
                  <a:pt x="308" y="387"/>
                </a:cubicBezTo>
                <a:cubicBezTo>
                  <a:pt x="316" y="407"/>
                  <a:pt x="316" y="407"/>
                  <a:pt x="316" y="407"/>
                </a:cubicBezTo>
                <a:cubicBezTo>
                  <a:pt x="322" y="418"/>
                  <a:pt x="335" y="424"/>
                  <a:pt x="347" y="420"/>
                </a:cubicBezTo>
                <a:cubicBezTo>
                  <a:pt x="360" y="415"/>
                  <a:pt x="367" y="401"/>
                  <a:pt x="362" y="388"/>
                </a:cubicBezTo>
                <a:lnTo>
                  <a:pt x="361" y="38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a:spcBef>
                <a:spcPct val="20000"/>
              </a:spcBef>
            </a:pPr>
            <a:endParaRPr lang="en-US" sz="900" b="1" dirty="0">
              <a:solidFill>
                <a:srgbClr val="002776"/>
              </a:solidFill>
              <a:cs typeface="Arial" pitchFamily="34" charset="0"/>
            </a:endParaRPr>
          </a:p>
        </p:txBody>
      </p:sp>
      <p:sp>
        <p:nvSpPr>
          <p:cNvPr id="14" name="Rectangle 3"/>
          <p:cNvSpPr>
            <a:spLocks noChangeArrowheads="1"/>
          </p:cNvSpPr>
          <p:nvPr/>
        </p:nvSpPr>
        <p:spPr bwMode="gray">
          <a:xfrm>
            <a:off x="3501180" y="2081773"/>
            <a:ext cx="257137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 Elder System</a:t>
            </a:r>
            <a:endParaRPr lang="en-US" sz="1400" dirty="0" smtClean="0"/>
          </a:p>
          <a:p>
            <a:pPr marL="171446" lvl="1">
              <a:lnSpc>
                <a:spcPts val="975"/>
              </a:lnSpc>
              <a:spcBef>
                <a:spcPct val="40000"/>
              </a:spcBef>
              <a:buClr>
                <a:srgbClr val="000000"/>
              </a:buClr>
              <a:defRPr/>
            </a:pPr>
            <a:endParaRPr lang="en-US" sz="1400" dirty="0"/>
          </a:p>
          <a:p>
            <a:pPr marL="171446" lvl="1">
              <a:lnSpc>
                <a:spcPts val="975"/>
              </a:lnSpc>
              <a:spcBef>
                <a:spcPct val="40000"/>
              </a:spcBef>
              <a:buClr>
                <a:srgbClr val="000000"/>
              </a:buClr>
              <a:defRPr/>
            </a:pPr>
            <a:endParaRPr lang="en-US" sz="900" dirty="0" smtClean="0"/>
          </a:p>
        </p:txBody>
      </p:sp>
      <p:sp>
        <p:nvSpPr>
          <p:cNvPr id="15" name="Rectangle 3"/>
          <p:cNvSpPr>
            <a:spLocks noChangeArrowheads="1"/>
          </p:cNvSpPr>
          <p:nvPr/>
        </p:nvSpPr>
        <p:spPr bwMode="gray">
          <a:xfrm>
            <a:off x="6464742"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100" dirty="0" smtClean="0"/>
              <a:t>User Friendly</a:t>
            </a:r>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Accurate Reassurance</a:t>
            </a:r>
            <a:endParaRPr lang="en-US" sz="1100" dirty="0"/>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 </a:t>
            </a:r>
            <a:r>
              <a:rPr lang="en-US" sz="1100" dirty="0" smtClean="0"/>
              <a:t>Alert System</a:t>
            </a:r>
            <a:endParaRPr lang="en-US" sz="1100" dirty="0" smtClean="0"/>
          </a:p>
          <a:p>
            <a:pPr marL="300034" lvl="1" indent="-128588">
              <a:lnSpc>
                <a:spcPts val="975"/>
              </a:lnSpc>
              <a:spcBef>
                <a:spcPct val="40000"/>
              </a:spcBef>
              <a:buClr>
                <a:srgbClr val="000000"/>
              </a:buClr>
              <a:buFont typeface="Wingdings" panose="05000000000000000000" pitchFamily="2" charset="2"/>
              <a:buChar char="q"/>
              <a:defRPr/>
            </a:pPr>
            <a:r>
              <a:rPr lang="en-US" sz="1100" i="1" dirty="0" smtClean="0"/>
              <a:t> </a:t>
            </a:r>
            <a:r>
              <a:rPr lang="en-US" sz="1100" dirty="0" smtClean="0"/>
              <a:t>Weekly Report</a:t>
            </a:r>
            <a:endParaRPr lang="en-US" sz="1100" i="1" dirty="0"/>
          </a:p>
        </p:txBody>
      </p:sp>
      <p:sp>
        <p:nvSpPr>
          <p:cNvPr id="19" name="Rectangle 18"/>
          <p:cNvSpPr/>
          <p:nvPr/>
        </p:nvSpPr>
        <p:spPr bwMode="gray">
          <a:xfrm>
            <a:off x="311285" y="3876697"/>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Android :- A user Friendly mobile app is created to access data from Bluetooth Device connected with our device</a:t>
            </a:r>
          </a:p>
          <a:p>
            <a:pPr algn="ctr">
              <a:lnSpc>
                <a:spcPct val="106000"/>
              </a:lnSpc>
              <a:buFont typeface="Wingdings 2" pitchFamily="18" charset="2"/>
              <a:buNone/>
            </a:pPr>
            <a:r>
              <a:rPr lang="en-US" sz="1200" i="1" dirty="0" smtClean="0">
                <a:solidFill>
                  <a:schemeClr val="tx1"/>
                </a:solidFill>
              </a:rPr>
              <a:t>Python:- For embedded Coding where RPM is Calculated , to generate the right amount of fuel dropped</a:t>
            </a:r>
          </a:p>
        </p:txBody>
      </p:sp>
      <p:sp>
        <p:nvSpPr>
          <p:cNvPr id="20" name="Rectangle 19"/>
          <p:cNvSpPr/>
          <p:nvPr/>
        </p:nvSpPr>
        <p:spPr bwMode="gray">
          <a:xfrm>
            <a:off x="319325" y="4676562"/>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i="1" dirty="0" smtClean="0">
                <a:solidFill>
                  <a:schemeClr val="tx1"/>
                </a:solidFill>
              </a:rPr>
              <a:t>Android app</a:t>
            </a:r>
            <a:r>
              <a:rPr lang="en-US" sz="1200" i="1" dirty="0" smtClean="0">
                <a:solidFill>
                  <a:schemeClr val="tx1"/>
                </a:solidFill>
              </a:rPr>
              <a:t> is connected with  </a:t>
            </a:r>
            <a:r>
              <a:rPr lang="en-US" sz="1200" b="1" i="1" dirty="0" smtClean="0">
                <a:solidFill>
                  <a:schemeClr val="tx1"/>
                </a:solidFill>
              </a:rPr>
              <a:t>WIFI</a:t>
            </a:r>
            <a:r>
              <a:rPr lang="en-US" sz="1200" i="1" dirty="0" smtClean="0">
                <a:solidFill>
                  <a:schemeClr val="tx1"/>
                </a:solidFill>
              </a:rPr>
              <a:t> </a:t>
            </a:r>
            <a:r>
              <a:rPr lang="en-US" sz="1200" i="1" dirty="0" smtClean="0">
                <a:solidFill>
                  <a:schemeClr val="tx1"/>
                </a:solidFill>
              </a:rPr>
              <a:t>model attached with the device , a </a:t>
            </a:r>
            <a:r>
              <a:rPr lang="en-US" sz="1200" i="1" dirty="0" smtClean="0">
                <a:solidFill>
                  <a:schemeClr val="tx1"/>
                </a:solidFill>
              </a:rPr>
              <a:t>Beat Sensor as well as pressure sensor is used </a:t>
            </a:r>
            <a:r>
              <a:rPr lang="en-US" sz="1200" i="1" dirty="0" smtClean="0">
                <a:solidFill>
                  <a:schemeClr val="tx1"/>
                </a:solidFill>
              </a:rPr>
              <a:t>, </a:t>
            </a:r>
            <a:r>
              <a:rPr lang="en-US" sz="1200" b="1" i="1" dirty="0" smtClean="0">
                <a:solidFill>
                  <a:schemeClr val="tx1"/>
                </a:solidFill>
              </a:rPr>
              <a:t>microprocessor</a:t>
            </a:r>
            <a:r>
              <a:rPr lang="en-US" sz="1200" i="1" dirty="0" smtClean="0">
                <a:solidFill>
                  <a:schemeClr val="tx1"/>
                </a:solidFill>
              </a:rPr>
              <a:t> is used to calculate the </a:t>
            </a:r>
            <a:r>
              <a:rPr lang="en-US" sz="1200" i="1" dirty="0" smtClean="0">
                <a:solidFill>
                  <a:schemeClr val="tx1"/>
                </a:solidFill>
              </a:rPr>
              <a:t>BPM </a:t>
            </a:r>
            <a:r>
              <a:rPr lang="en-US" sz="1200" i="1" dirty="0" smtClean="0">
                <a:solidFill>
                  <a:schemeClr val="tx1"/>
                </a:solidFill>
              </a:rPr>
              <a:t>the output is sent using the </a:t>
            </a:r>
            <a:r>
              <a:rPr lang="en-US" sz="1200" b="1" i="1" dirty="0" smtClean="0">
                <a:solidFill>
                  <a:schemeClr val="tx1"/>
                </a:solidFill>
              </a:rPr>
              <a:t>ESP 8688</a:t>
            </a:r>
            <a:r>
              <a:rPr lang="en-US" sz="1200" i="1" dirty="0" smtClean="0">
                <a:solidFill>
                  <a:schemeClr val="tx1"/>
                </a:solidFill>
              </a:rPr>
              <a:t> </a:t>
            </a:r>
            <a:r>
              <a:rPr lang="en-US" sz="1200" i="1" dirty="0" smtClean="0">
                <a:solidFill>
                  <a:schemeClr val="tx1"/>
                </a:solidFill>
              </a:rPr>
              <a:t>module and hence the </a:t>
            </a:r>
            <a:r>
              <a:rPr lang="en-US" sz="1200" i="1" dirty="0" smtClean="0">
                <a:solidFill>
                  <a:schemeClr val="tx1"/>
                </a:solidFill>
              </a:rPr>
              <a:t>accurate value </a:t>
            </a:r>
            <a:r>
              <a:rPr lang="en-US" sz="1200" i="1" dirty="0" smtClean="0">
                <a:solidFill>
                  <a:schemeClr val="tx1"/>
                </a:solidFill>
              </a:rPr>
              <a:t>is </a:t>
            </a:r>
            <a:r>
              <a:rPr lang="en-US" sz="1200" i="1" dirty="0" smtClean="0">
                <a:solidFill>
                  <a:schemeClr val="tx1"/>
                </a:solidFill>
              </a:rPr>
              <a:t>shown</a:t>
            </a:r>
            <a:r>
              <a:rPr lang="en-US" sz="1200" i="1" dirty="0" smtClean="0">
                <a:solidFill>
                  <a:schemeClr val="tx1"/>
                </a:solidFill>
              </a:rPr>
              <a:t> </a:t>
            </a:r>
            <a:endParaRPr lang="en-US" sz="1200" i="1" dirty="0" smtClean="0">
              <a:solidFill>
                <a:schemeClr val="tx1"/>
              </a:solidFill>
            </a:endParaRPr>
          </a:p>
        </p:txBody>
      </p:sp>
      <p:sp>
        <p:nvSpPr>
          <p:cNvPr id="21" name="Rectangle 20"/>
          <p:cNvSpPr/>
          <p:nvPr/>
        </p:nvSpPr>
        <p:spPr bwMode="gray">
          <a:xfrm>
            <a:off x="311285" y="5567832"/>
            <a:ext cx="8544368" cy="809522"/>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The hardware part of our model will be easy to install as we will providing user guide manual to install our product to the tank of the vehicle and next update of our application we will be adding </a:t>
            </a:r>
            <a:r>
              <a:rPr lang="en-US" sz="1200" i="1" dirty="0">
                <a:solidFill>
                  <a:schemeClr val="tx1"/>
                </a:solidFill>
              </a:rPr>
              <a:t>mileage </a:t>
            </a:r>
            <a:r>
              <a:rPr lang="en-US" sz="1200" i="1" dirty="0" smtClean="0">
                <a:solidFill>
                  <a:schemeClr val="tx1"/>
                </a:solidFill>
              </a:rPr>
              <a:t>and servicing indicator in our application   </a:t>
            </a:r>
          </a:p>
        </p:txBody>
      </p:sp>
      <p:sp>
        <p:nvSpPr>
          <p:cNvPr id="22" name="Rectangle 21"/>
          <p:cNvSpPr/>
          <p:nvPr/>
        </p:nvSpPr>
        <p:spPr bwMode="gray">
          <a:xfrm>
            <a:off x="319325" y="3031130"/>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 I came across this innovative idea </a:t>
            </a:r>
            <a:r>
              <a:rPr lang="en-US" sz="1200" i="1" dirty="0" smtClean="0">
                <a:solidFill>
                  <a:schemeClr val="tx1"/>
                </a:solidFill>
              </a:rPr>
              <a:t>When My Grandmother got expired due to heart attack and it occurred in the late night and no one noticed   </a:t>
            </a:r>
            <a:endParaRPr lang="en-US" sz="1200" i="1" dirty="0" smtClean="0">
              <a:solidFill>
                <a:schemeClr val="tx1"/>
              </a:solidFill>
            </a:endParaRPr>
          </a:p>
        </p:txBody>
      </p:sp>
    </p:spTree>
    <p:extLst>
      <p:ext uri="{BB962C8B-B14F-4D97-AF65-F5344CB8AC3E}">
        <p14:creationId xmlns="" xmlns:p14="http://schemas.microsoft.com/office/powerpoint/2010/main" val="1830657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SOC_Text2"/>
          <p:cNvSpPr txBox="1">
            <a:spLocks/>
          </p:cNvSpPr>
          <p:nvPr/>
        </p:nvSpPr>
        <p:spPr bwMode="gray">
          <a:xfrm>
            <a:off x="374211" y="5052646"/>
            <a:ext cx="7079737" cy="157944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endParaRPr lang="en-US" sz="700" dirty="0">
              <a:solidFill>
                <a:schemeClr val="tx1"/>
              </a:solidFill>
            </a:endParaRPr>
          </a:p>
        </p:txBody>
      </p:sp>
      <p:pic>
        <p:nvPicPr>
          <p:cNvPr id="3" name="Picture 3"/>
          <p:cNvPicPr>
            <a:picLocks noChangeAspect="1" noChangeArrowheads="1"/>
          </p:cNvPicPr>
          <p:nvPr/>
        </p:nvPicPr>
        <p:blipFill>
          <a:blip r:embed="rId2"/>
          <a:srcRect/>
          <a:stretch>
            <a:fillRect/>
          </a:stretch>
        </p:blipFill>
        <p:spPr bwMode="auto">
          <a:xfrm>
            <a:off x="264502" y="351692"/>
            <a:ext cx="1885950" cy="457200"/>
          </a:xfrm>
          <a:prstGeom prst="rect">
            <a:avLst/>
          </a:prstGeom>
          <a:noFill/>
          <a:ln w="9525">
            <a:noFill/>
            <a:miter lim="800000"/>
            <a:headEnd/>
            <a:tailEnd/>
          </a:ln>
          <a:effectLst/>
        </p:spPr>
      </p:pic>
      <p:pic>
        <p:nvPicPr>
          <p:cNvPr id="37891" name="Picture 3"/>
          <p:cNvPicPr>
            <a:picLocks noChangeAspect="1" noChangeArrowheads="1"/>
          </p:cNvPicPr>
          <p:nvPr/>
        </p:nvPicPr>
        <p:blipFill>
          <a:blip r:embed="rId3"/>
          <a:srcRect/>
          <a:stretch>
            <a:fillRect/>
          </a:stretch>
        </p:blipFill>
        <p:spPr bwMode="auto">
          <a:xfrm>
            <a:off x="3014663" y="2309813"/>
            <a:ext cx="3114675" cy="2238375"/>
          </a:xfrm>
          <a:prstGeom prst="rect">
            <a:avLst/>
          </a:prstGeom>
          <a:noFill/>
          <a:ln w="9525">
            <a:noFill/>
            <a:miter lim="800000"/>
            <a:headEnd/>
            <a:tailEnd/>
          </a:ln>
          <a:effectLst/>
        </p:spPr>
      </p:pic>
    </p:spTree>
    <p:extLst>
      <p:ext uri="{BB962C8B-B14F-4D97-AF65-F5344CB8AC3E}">
        <p14:creationId xmlns="" xmlns:p14="http://schemas.microsoft.com/office/powerpoint/2010/main" val="15497598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eloitteDocumentsContentTypes" ma:contentTypeID="0x0101007645FDBA892A4FA78CCB38994D149C020043BB283E14502B4E9B6DA8DD324944EC" ma:contentTypeVersion="2" ma:contentTypeDescription="Document Content Type" ma:contentTypeScope="" ma:versionID="e810e26310cd5e86a4534a4d7249c3b9">
  <xsd:schema xmlns:xsd="http://www.w3.org/2001/XMLSchema" xmlns:xs="http://www.w3.org/2001/XMLSchema" xmlns:p="http://schemas.microsoft.com/office/2006/metadata/properties" xmlns:ns1="http://schemas.microsoft.com/sharepoint/v3" xmlns:ns2="48dae889-c82b-4428-a6e2-bd91337187ac" xmlns:ns3="1021bd06-83e5-4db6-8005-e131dbb34224" targetNamespace="http://schemas.microsoft.com/office/2006/metadata/properties" ma:root="true" ma:fieldsID="ab607e665c636299c55ea3f1d7b30119" ns1:_="" ns2:_="" ns3:_="">
    <xsd:import namespace="http://schemas.microsoft.com/sharepoint/v3"/>
    <xsd:import namespace="48dae889-c82b-4428-a6e2-bd91337187ac"/>
    <xsd:import namespace="1021bd06-83e5-4db6-8005-e131dbb34224"/>
    <xsd:element name="properties">
      <xsd:complexType>
        <xsd:sequence>
          <xsd:element name="documentManagement">
            <xsd:complexType>
              <xsd:all>
                <xsd:element ref="ns2:DisplayKAMSGuidance"/>
                <xsd:element ref="ns1:PublishingStartDate" minOccurs="0"/>
                <xsd:element ref="ns1:PublishingExpirationDate" minOccurs="0"/>
                <xsd:element ref="ns2:MMSSearchKeywordTaxHTField1" minOccurs="0"/>
                <xsd:element ref="ns2:SearchDescription"/>
                <xsd:element ref="ns2:MyDate1" minOccurs="0"/>
                <xsd:element ref="ns2:MMSTaxonomyBusinessContentTaxHTField1" minOccurs="0"/>
                <xsd:element ref="ns2:MMSTaxonomyFunctionTaxHTField1" minOccurs="0"/>
                <xsd:element ref="ns2:MMSaTxonomyRegionTaxHTField1" minOccurs="0"/>
                <xsd:element ref="ns2:MMSTaxonomyCountryTaxHTField1" minOccurs="0"/>
                <xsd:element ref="ns2:MMSTaxonomyOfficeTaxHTField1" minOccurs="0"/>
                <xsd:element ref="ns2:MMSTaxonomyIndustryTaxHTField1" minOccurs="0"/>
                <xsd:element ref="ns2:MMSTaxonomyIndustrySectorTaxHTField1" minOccurs="0"/>
                <xsd:element ref="ns2:MMSTaxonomyJobLevelTaxHTField1" minOccurs="0"/>
                <xsd:element ref="ns2:ContentSubmitter"/>
                <xsd:element ref="ns2:DocumentExpiry" minOccurs="0"/>
                <xsd:element ref="ns3:TaxCatchAll" minOccurs="0"/>
                <xsd:element ref="ns3: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 ma:internalName="PublishingStartDate">
      <xsd:simpleType>
        <xsd:restriction base="dms:Unknown"/>
      </xsd:simpleType>
    </xsd:element>
    <xsd:element name="PublishingExpirationDate" ma:index="10"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8dae889-c82b-4428-a6e2-bd91337187ac" elementFormDefault="qualified">
    <xsd:import namespace="http://schemas.microsoft.com/office/2006/documentManagement/types"/>
    <xsd:import namespace="http://schemas.microsoft.com/office/infopath/2007/PartnerControls"/>
    <xsd:element name="DisplayKAMSGuidance" ma:index="8" ma:displayName="KAMS Guidance Understood" ma:internalName="DisplayKAMSGuidance" ma:readOnly="false">
      <xsd:simpleType>
        <xsd:restriction base="dms:Unknown"/>
      </xsd:simpleType>
    </xsd:element>
    <xsd:element name="MMSSearchKeywordTaxHTField1" ma:index="12" ma:taxonomy="true" ma:internalName="MMSSearchKeywordTaxHTField1" ma:taxonomyFieldName="MMSSearchKeyword" ma:displayName="Search Keywords" ma:readOnly="false" ma:default="" ma:fieldId="{b0ca6f43-70ae-4a63-ac98-7a12fa1882ea}" ma:taxonomyMulti="true" ma:sspId="0621e0f3-cf90-423d-beae-e7f363e3d5ca" ma:termSetId="5d5cdb7f-8d1a-49eb-bdbd-081b6517bd62" ma:anchorId="00000000-0000-0000-0000-000000000000" ma:open="true" ma:isKeyword="false">
      <xsd:complexType>
        <xsd:sequence>
          <xsd:element ref="pc:Terms" minOccurs="0" maxOccurs="1"/>
        </xsd:sequence>
      </xsd:complexType>
    </xsd:element>
    <xsd:element name="SearchDescription" ma:index="13" ma:displayName="Search Description" ma:internalName="SearchDescription" ma:readOnly="false">
      <xsd:simpleType>
        <xsd:restriction base="dms:Text"/>
      </xsd:simpleType>
    </xsd:element>
    <xsd:element name="MyDate1" ma:index="14" nillable="true" ma:displayName="Search End Date" ma:format="DateOnly" ma:internalName="MMSSearchEndDate" ma:readOnly="false">
      <xsd:simpleType>
        <xsd:restriction base="dms:DateTime"/>
      </xsd:simpleType>
    </xsd:element>
    <xsd:element name="MMSTaxonomyBusinessContentTaxHTField1" ma:index="16" ma:taxonomy="true" ma:internalName="MMSTaxonomyBusinessContentTaxHTField1" ma:taxonomyFieldName="MMSTaxonomyBusinessContent" ma:displayName="Content Type" ma:readOnly="false" ma:default="" ma:fieldId="{ad997fd3-cec7-4417-a276-60ea7536ff83}" ma:taxonomyMulti="true" ma:sspId="155bb128-613e-4099-96fa-4403fd0cc87b" ma:termSetId="71325c3c-855f-4016-ae90-48a98c58e6a3" ma:anchorId="4ba13e85-4a7a-4b5d-8d7c-f4d91966d0db" ma:open="false" ma:isKeyword="false">
      <xsd:complexType>
        <xsd:sequence>
          <xsd:element ref="pc:Terms" minOccurs="0" maxOccurs="1"/>
        </xsd:sequence>
      </xsd:complexType>
    </xsd:element>
    <xsd:element name="MMSTaxonomyFunctionTaxHTField1" ma:index="18" ma:taxonomy="true" ma:internalName="MMSTaxonomyFunctionTaxHTField1" ma:taxonomyFieldName="MMSTaxonomyFunction" ma:displayName="Function" ma:readOnly="false" ma:default="" ma:fieldId="{eb99c94b-cebb-4850-a792-26506ffd0c0f}" ma:taxonomyMulti="true" ma:sspId="155bb128-613e-4099-96fa-4403fd0cc87b" ma:termSetId="fdfa5d4e-bcf6-4bc6-8cf3-615b35f88b31" ma:anchorId="e8df183c-70bd-4ae5-9a27-2b09d0e24fb1" ma:open="false" ma:isKeyword="false">
      <xsd:complexType>
        <xsd:sequence>
          <xsd:element ref="pc:Terms" minOccurs="0" maxOccurs="1"/>
        </xsd:sequence>
      </xsd:complexType>
    </xsd:element>
    <xsd:element name="MMSaTxonomyRegionTaxHTField1" ma:index="20" ma:taxonomy="true" ma:internalName="MMSTaxonomyRegionTaxHTField1" ma:taxonomyFieldName="MMSTaxonomyRegion" ma:displayName="Region" ma:readOnly="false" ma:default="" ma:fieldId="{376690d3-7de8-4beb-bfa5-34f44b54ce16}"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CountryTaxHTField1" ma:index="22" nillable="true" ma:taxonomy="true" ma:internalName="MMSTaxonomyCountryTaxHTField1" ma:taxonomyFieldName="MMSTaxonomyCountry" ma:displayName="Country" ma:readOnly="false" ma:default="406;#United States (US) (2768)|6a2e80fa-6705-44e3-a27a-aae62ef1b102" ma:fieldId="{6587b3a0-272e-400a-b1e6-837ddbf31af3}" ma:taxonomyMulti="true" ma:sspId="155bb128-613e-4099-96fa-4403fd0cc87b" ma:termSetId="81dc82de-5316-4e7d-a91c-d6e011bd13a2" ma:anchorId="308af2a0-31f9-42f5-bc3d-0a75c2660fd0" ma:open="false" ma:isKeyword="false">
      <xsd:complexType>
        <xsd:sequence>
          <xsd:element ref="pc:Terms" minOccurs="0" maxOccurs="1"/>
        </xsd:sequence>
      </xsd:complexType>
    </xsd:element>
    <xsd:element name="MMSTaxonomyOfficeTaxHTField1" ma:index="24" nillable="true" ma:taxonomy="true" ma:internalName="MMSTaxonomyOfficeTaxHTField1" ma:taxonomyFieldName="MMSTaxonomyOffice" ma:displayName="Office" ma:readOnly="false" ma:default="" ma:fieldId="{506a74aa-07ce-41b3-b364-87b3a7897677}"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IndustryTaxHTField1" ma:index="26" nillable="true" ma:taxonomy="true" ma:internalName="MMSTaxonomyIndustryTaxHTField1" ma:taxonomyFieldName="MMSTaxonomyIndustry" ma:displayName="Industry" ma:readOnly="false" ma:default="" ma:fieldId="{dbf2d1a1-aa33-4e13-a1c9-413f5ee39527}"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IndustrySectorTaxHTField1" ma:index="28" nillable="true" ma:taxonomy="true" ma:internalName="MMSTaxonomyIndustrySectorTaxHTField1" ma:taxonomyFieldName="MMSTaxonomyIndustrySector" ma:displayName="Industry Segment" ma:readOnly="false" ma:default="" ma:fieldId="{d9fef6f8-647d-4ac2-ad97-a3cea06730bf}"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JobLevelTaxHTField1" ma:index="30" nillable="true" ma:taxonomy="true" ma:internalName="MMSTaxonomyJobLevelTaxHTField1" ma:taxonomyFieldName="MMSTaxonomyJobLevel" ma:displayName="People Level" ma:readOnly="false" ma:default="" ma:fieldId="{791e63fa-717c-4576-b986-e1418b7af5b5}" ma:taxonomyMulti="true" ma:sspId="155bb128-613e-4099-96fa-4403fd0cc87b" ma:termSetId="439a7a9a-4b26-4338-bff0-4b575dd99496" ma:anchorId="cd8b3862-afda-4d37-a230-c8ee39d9b919" ma:open="false" ma:isKeyword="false">
      <xsd:complexType>
        <xsd:sequence>
          <xsd:element ref="pc:Terms" minOccurs="0" maxOccurs="1"/>
        </xsd:sequence>
      </xsd:complexType>
    </xsd:element>
    <xsd:element name="ContentSubmitter" ma:index="31" ma:displayName="Page Contact" ma:internalName="ContentSubmitt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Expiry" ma:index="32" nillable="true" ma:displayName="Document Expiry" ma:format="DateOnly" ma:hidden="true" ma:internalName="DocumentExpiry"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021bd06-83e5-4db6-8005-e131dbb34224" elementFormDefault="qualified">
    <xsd:import namespace="http://schemas.microsoft.com/office/2006/documentManagement/types"/>
    <xsd:import namespace="http://schemas.microsoft.com/office/infopath/2007/PartnerControls"/>
    <xsd:element name="TaxCatchAll" ma:index="33" nillable="true" ma:displayName="Taxonomy Catch All Column" ma:description="" ma:hidden="true" ma:list="{3136c567-bb81-409d-89b3-e2e50aa7d19d}" ma:internalName="TaxCatchAll" ma:showField="CatchAllData" ma:web="1021bd06-83e5-4db6-8005-e131dbb34224">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description="" ma:hidden="true" ma:list="{3136c567-bb81-409d-89b3-e2e50aa7d19d}" ma:internalName="TaxCatchAllLabel" ma:readOnly="true" ma:showField="CatchAllDataLabel" ma:web="1021bd06-83e5-4db6-8005-e131dbb342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ntentSubmitter xmlns="48dae889-c82b-4428-a6e2-bd91337187ac">
      <UserInfo>
        <DisplayName>Latta, Steve (US - Los Angeles)</DisplayName>
        <AccountId>104341</AccountId>
        <AccountType/>
      </UserInfo>
    </ContentSubmitter>
    <SearchDescription xmlns="48dae889-c82b-4428-a6e2-bd91337187ac">design; Letter; creative; DIY; create; brand; </SearchDescription>
    <MMSTaxonomyIndustrySectorTaxHTField1 xmlns="48dae889-c82b-4428-a6e2-bd91337187ac">
      <Terms xmlns="http://schemas.microsoft.com/office/infopath/2007/PartnerControls"/>
    </MMSTaxonomyIndustrySectorTaxHTField1>
    <MMSTaxonomyOfficeTaxHTField1 xmlns="48dae889-c82b-4428-a6e2-bd91337187ac">
      <Terms xmlns="http://schemas.microsoft.com/office/infopath/2007/PartnerControls"/>
    </MMSTaxonomyOfficeTaxHTField1>
    <MMSTaxonomyCountryTaxHTField1 xmlns="48dae889-c82b-4428-a6e2-bd91337187ac">
      <Terms xmlns="http://schemas.microsoft.com/office/infopath/2007/PartnerControls">
        <TermInfo xmlns="http://schemas.microsoft.com/office/infopath/2007/PartnerControls">
          <TermName xmlns="http://schemas.microsoft.com/office/infopath/2007/PartnerControls">United States (US) (2768)</TermName>
          <TermId xmlns="http://schemas.microsoft.com/office/infopath/2007/PartnerControls">6a2e80fa-6705-44e3-a27a-aae62ef1b102</TermId>
        </TermInfo>
      </Terms>
    </MMSTaxonomyCountryTaxHTField1>
    <DocumentExpiry xmlns="48dae889-c82b-4428-a6e2-bd91337187ac">2018-03-02T18:02:21+00:00</DocumentExpiry>
    <DisplayKAMSGuidance xmlns="48dae889-c82b-4428-a6e2-bd91337187ac">;#True;#</DisplayKAMSGuidance>
    <PublishingStartDate xmlns="http://schemas.microsoft.com/sharepoint/v3" xsi:nil="true"/>
    <TaxCatchAll xmlns="1021bd06-83e5-4db6-8005-e131dbb34224">
      <Value>406</Value>
      <Value>1070</Value>
      <Value>32</Value>
      <Value>327</Value>
      <Value>6065</Value>
      <Value>7531</Value>
      <Value>3</Value>
      <Value>20514</Value>
      <Value>17588</Value>
      <Value>118</Value>
      <Value>525</Value>
      <Value>339</Value>
      <Value>116</Value>
      <Value>1890</Value>
      <Value>7772</Value>
    </TaxCatchAll>
    <MMSTaxonomyBusinessContentTaxHTField1 xmlns="48dae889-c82b-4428-a6e2-bd91337187ac">
      <Terms xmlns="http://schemas.microsoft.com/office/infopath/2007/PartnerControls">
        <TermInfo xmlns="http://schemas.microsoft.com/office/infopath/2007/PartnerControls">
          <TermName xmlns="http://schemas.microsoft.com/office/infopath/2007/PartnerControls">Tools</TermName>
          <TermId xmlns="http://schemas.microsoft.com/office/infopath/2007/PartnerControls">28b08e3f-0083-4e16-810f-ff46fe14c1e2</TermId>
        </TermInfo>
        <TermInfo xmlns="http://schemas.microsoft.com/office/infopath/2007/PartnerControls">
          <TermName xmlns="http://schemas.microsoft.com/office/infopath/2007/PartnerControls">Announcements</TermName>
          <TermId xmlns="http://schemas.microsoft.com/office/infopath/2007/PartnerControls">588d4547-9a3a-4669-8e48-1d3570c5ec46</TermId>
        </TermInfo>
      </Terms>
    </MMSTaxonomyBusinessContentTaxHTField1>
    <MMSSearchKeywordTaxHTField1 xmlns="48dae889-c82b-4428-a6e2-bd91337187ac">
      <Terms xmlns="http://schemas.microsoft.com/office/infopath/2007/PartnerControls">
        <TermInfo xmlns="http://schemas.microsoft.com/office/infopath/2007/PartnerControls">
          <TermName xmlns="http://schemas.microsoft.com/office/infopath/2007/PartnerControls">design</TermName>
          <TermId xmlns="http://schemas.microsoft.com/office/infopath/2007/PartnerControls">73884c54-5efa-4640-b1e2-cbdeefe42ca9</TermId>
        </TermInfo>
        <TermInfo xmlns="http://schemas.microsoft.com/office/infopath/2007/PartnerControls">
          <TermName xmlns="http://schemas.microsoft.com/office/infopath/2007/PartnerControls">Letter</TermName>
          <TermId xmlns="http://schemas.microsoft.com/office/infopath/2007/PartnerControls">a0ec6f77-427b-4d9f-a4fc-ea084673ef45</TermId>
        </TermInfo>
        <TermInfo xmlns="http://schemas.microsoft.com/office/infopath/2007/PartnerControls">
          <TermName xmlns="http://schemas.microsoft.com/office/infopath/2007/PartnerControls">creative</TermName>
          <TermId xmlns="http://schemas.microsoft.com/office/infopath/2007/PartnerControls">20d244c5-6727-4607-acc1-bc0f3b2bb8ae</TermId>
        </TermInfo>
        <TermInfo xmlns="http://schemas.microsoft.com/office/infopath/2007/PartnerControls">
          <TermName xmlns="http://schemas.microsoft.com/office/infopath/2007/PartnerControls">DIY</TermName>
          <TermId xmlns="http://schemas.microsoft.com/office/infopath/2007/PartnerControls">79c5f555-d7be-4362-983a-6ee3a42b06e3</TermId>
        </TermInfo>
        <TermInfo xmlns="http://schemas.microsoft.com/office/infopath/2007/PartnerControls">
          <TermName xmlns="http://schemas.microsoft.com/office/infopath/2007/PartnerControls">create</TermName>
          <TermId xmlns="http://schemas.microsoft.com/office/infopath/2007/PartnerControls">5e7c546e-8357-4432-8e6f-1fbc7141c7d0</TermId>
        </TermInfo>
        <TermInfo xmlns="http://schemas.microsoft.com/office/infopath/2007/PartnerControls">
          <TermName xmlns="http://schemas.microsoft.com/office/infopath/2007/PartnerControls">brand</TermName>
          <TermId xmlns="http://schemas.microsoft.com/office/infopath/2007/PartnerControls">3ceaaa95-1194-49c8-a74e-16c8e04d80b7</TermId>
        </TermInfo>
      </Terms>
    </MMSSearchKeywordTaxHTField1>
    <MMSTaxonomyJobLevelTaxHTField1 xmlns="48dae889-c82b-4428-a6e2-bd91337187ac">
      <Terms xmlns="http://schemas.microsoft.com/office/infopath/2007/PartnerControls"/>
    </MMSTaxonomyJobLevelTaxHTField1>
    <MMSaTxonomyRegionTaxHTField1 xmlns="48dae889-c82b-4428-a6e2-bd91337187ac">
      <Terms xmlns="http://schemas.microsoft.com/office/infopath/2007/PartnerControls">
        <TermInfo xmlns="http://schemas.microsoft.com/office/infopath/2007/PartnerControls">
          <TermName xmlns="http://schemas.microsoft.com/office/infopath/2007/PartnerControls">Central</TermName>
          <TermId xmlns="http://schemas.microsoft.com/office/infopath/2007/PartnerControls">5521b5f3-d69b-41fd-bab4-3606bb95349a</TermId>
        </TermInfo>
        <TermInfo xmlns="http://schemas.microsoft.com/office/infopath/2007/PartnerControls">
          <TermName xmlns="http://schemas.microsoft.com/office/infopath/2007/PartnerControls">East</TermName>
          <TermId xmlns="http://schemas.microsoft.com/office/infopath/2007/PartnerControls">748eed68-e9fe-47f9-b50d-af927a1aff5f</TermId>
        </TermInfo>
        <TermInfo xmlns="http://schemas.microsoft.com/office/infopath/2007/PartnerControls">
          <TermName xmlns="http://schemas.microsoft.com/office/infopath/2007/PartnerControls">USI</TermName>
          <TermId xmlns="http://schemas.microsoft.com/office/infopath/2007/PartnerControls">775e35a6-9e69-4f0f-969a-814bb6db0dfc</TermId>
        </TermInfo>
        <TermInfo xmlns="http://schemas.microsoft.com/office/infopath/2007/PartnerControls">
          <TermName xmlns="http://schemas.microsoft.com/office/infopath/2007/PartnerControls">West</TermName>
          <TermId xmlns="http://schemas.microsoft.com/office/infopath/2007/PartnerControls">290d12b5-6453-437a-8fcd-3a2e4c2209a1</TermId>
        </TermInfo>
      </Terms>
    </MMSaTxonomyRegionTaxHTField1>
    <MMSTaxonomyFunctionTaxHTField1 xmlns="48dae889-c82b-4428-a6e2-bd91337187ac">
      <Terms xmlns="http://schemas.microsoft.com/office/infopath/2007/PartnerControls">
        <TermInfo xmlns="http://schemas.microsoft.com/office/infopath/2007/PartnerControls">
          <TermName xmlns="http://schemas.microsoft.com/office/infopath/2007/PartnerControls">Other Shared Services</TermName>
          <TermId xmlns="http://schemas.microsoft.com/office/infopath/2007/PartnerControls">6916039d-46fa-4ea1-9ec8-c3868306e9b4</TermId>
        </TermInfo>
        <TermInfo xmlns="http://schemas.microsoft.com/office/infopath/2007/PartnerControls">
          <TermName xmlns="http://schemas.microsoft.com/office/infopath/2007/PartnerControls">National (National)</TermName>
          <TermId xmlns="http://schemas.microsoft.com/office/infopath/2007/PartnerControls">1612c69e-71ac-44f1-b617-210d8ee8f0c8</TermId>
        </TermInfo>
      </Terms>
    </MMSTaxonomyFunctionTaxHTField1>
    <PublishingExpirationDate xmlns="http://schemas.microsoft.com/sharepoint/v3">2018-12-31T06:00:00+00:00</PublishingExpirationDate>
    <MMSTaxonomyIndustryTaxHTField1 xmlns="48dae889-c82b-4428-a6e2-bd91337187ac">
      <Terms xmlns="http://schemas.microsoft.com/office/infopath/2007/PartnerControls"/>
    </MMSTaxonomyIndustryTaxHTField1>
    <MyDate1 xmlns="48dae889-c82b-4428-a6e2-bd91337187ac">2018-03-02T06:00:00+00:00</MyDate1>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1F4372-2C29-4E96-B603-88F8D06956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dae889-c82b-4428-a6e2-bd91337187ac"/>
    <ds:schemaRef ds:uri="1021bd06-83e5-4db6-8005-e131dbb342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1FDB83-A774-417C-BA4E-59CF839BA4B7}">
  <ds:schemaRefs>
    <ds:schemaRef ds:uri="http://purl.org/dc/elements/1.1/"/>
    <ds:schemaRef ds:uri="http://schemas.microsoft.com/office/2006/documentManagement/types"/>
    <ds:schemaRef ds:uri="48dae889-c82b-4428-a6e2-bd91337187ac"/>
    <ds:schemaRef ds:uri="http://schemas.microsoft.com/sharepoint/v3"/>
    <ds:schemaRef ds:uri="http://purl.org/dc/terms/"/>
    <ds:schemaRef ds:uri="1021bd06-83e5-4db6-8005-e131dbb34224"/>
    <ds:schemaRef ds:uri="http://purl.org/dc/dcmitype/"/>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12E7A48-6BA6-4B2E-A642-395C007CF3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357</TotalTime>
  <Words>250</Words>
  <Application>Microsoft Office PowerPoint</Application>
  <PresentationFormat>On-screen Show (4:3)</PresentationFormat>
  <Paragraphs>23</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Deloitte 16_9 onscreen</vt:lpstr>
      <vt:lpstr>think-cell Slide</vt:lpstr>
      <vt:lpstr>Slide 1</vt:lpstr>
      <vt:lpstr>Slide 2</vt:lpstr>
      <vt:lpstr>Slide 3</vt:lpstr>
      <vt:lpstr>Slide 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Mr HHH</cp:lastModifiedBy>
  <cp:revision>48</cp:revision>
  <cp:lastPrinted>2014-06-25T02:16:22Z</cp:lastPrinted>
  <dcterms:created xsi:type="dcterms:W3CDTF">2016-12-14T21:44:50Z</dcterms:created>
  <dcterms:modified xsi:type="dcterms:W3CDTF">2018-09-14T09:0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MSTaxonomyOffice">
    <vt:lpwstr/>
  </property>
  <property fmtid="{D5CDD505-2E9C-101B-9397-08002B2CF9AE}" pid="3" name="MMSTaxonomyCountry">
    <vt:lpwstr>406;#United States (US) (2768)|6a2e80fa-6705-44e3-a27a-aae62ef1b102</vt:lpwstr>
  </property>
  <property fmtid="{D5CDD505-2E9C-101B-9397-08002B2CF9AE}" pid="4" name="ContentTypeId">
    <vt:lpwstr>0x0101007645FDBA892A4FA78CCB38994D149C020043BB283E14502B4E9B6DA8DD324944EC</vt:lpwstr>
  </property>
  <property fmtid="{D5CDD505-2E9C-101B-9397-08002B2CF9AE}" pid="5" name="MMSTaxonomyRegion">
    <vt:lpwstr>116;#Central|5521b5f3-d69b-41fd-bab4-3606bb95349a;#17588;#East|748eed68-e9fe-47f9-b50d-af927a1aff5f;#3;#USI|775e35a6-9e69-4f0f-969a-814bb6db0dfc;#118;#West|290d12b5-6453-437a-8fcd-3a2e4c2209a1</vt:lpwstr>
  </property>
  <property fmtid="{D5CDD505-2E9C-101B-9397-08002B2CF9AE}" pid="6" name="MMSTaxonomyIndustry">
    <vt:lpwstr/>
  </property>
  <property fmtid="{D5CDD505-2E9C-101B-9397-08002B2CF9AE}" pid="7" name="MMSSearchKeyword">
    <vt:lpwstr>7531;#design|73884c54-5efa-4640-b1e2-cbdeefe42ca9;#6065;#Letter|a0ec6f77-427b-4d9f-a4fc-ea084673ef45;#1890;#creative|20d244c5-6727-4607-acc1-bc0f3b2bb8ae;#20514;#DIY|79c5f555-d7be-4362-983a-6ee3a42b06e3;#7772;#create|5e7c546e-8357-4432-8e6f-1fbc7141c7d0;#</vt:lpwstr>
  </property>
  <property fmtid="{D5CDD505-2E9C-101B-9397-08002B2CF9AE}" pid="8" name="MMSTaxonomyIndustrySector">
    <vt:lpwstr/>
  </property>
  <property fmtid="{D5CDD505-2E9C-101B-9397-08002B2CF9AE}" pid="9" name="MMSTaxonomyFunction">
    <vt:lpwstr>327;#Other Shared Services|6916039d-46fa-4ea1-9ec8-c3868306e9b4;#339;#National (National)|1612c69e-71ac-44f1-b617-210d8ee8f0c8</vt:lpwstr>
  </property>
  <property fmtid="{D5CDD505-2E9C-101B-9397-08002B2CF9AE}" pid="10" name="MMSTaxonomyJobLevel">
    <vt:lpwstr/>
  </property>
  <property fmtid="{D5CDD505-2E9C-101B-9397-08002B2CF9AE}" pid="11" name="MMSTaxonomyBusinessContent">
    <vt:lpwstr>525;#Tools|28b08e3f-0083-4e16-810f-ff46fe14c1e2;#32;#Announcements|588d4547-9a3a-4669-8e48-1d3570c5ec46</vt:lpwstr>
  </property>
</Properties>
</file>